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sldIdLst>
    <p:sldId id="282" r:id="rId5"/>
    <p:sldId id="310" r:id="rId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ey Bouchard" initials="JB" lastIdx="1" clrIdx="0">
    <p:extLst>
      <p:ext uri="{19B8F6BF-5375-455C-9EA6-DF929625EA0E}">
        <p15:presenceInfo xmlns:p15="http://schemas.microsoft.com/office/powerpoint/2012/main" userId="S::Jessey.Bouchard@aramcoamericas.com::05445318-1ced-4b18-9a2e-a17942c439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25B540-8EE7-4996-B615-993941E76749}" v="14" dt="2023-03-15T13:42:15.0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4626"/>
  </p:normalViewPr>
  <p:slideViewPr>
    <p:cSldViewPr snapToGrid="0">
      <p:cViewPr varScale="1">
        <p:scale>
          <a:sx n="121" d="100"/>
          <a:sy n="121" d="100"/>
        </p:scale>
        <p:origin x="2560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g, Jinghui" userId="db008e23-cf85-46b7-bc9b-fead09591f21" providerId="ADAL" clId="{83C737AB-B719-4DB1-8B59-3DBE00D56B2F}"/>
    <pc:docChg chg="delSld">
      <pc:chgData name="Wang, Jinghui" userId="db008e23-cf85-46b7-bc9b-fead09591f21" providerId="ADAL" clId="{83C737AB-B719-4DB1-8B59-3DBE00D56B2F}" dt="2023-03-16T11:14:09.273" v="0" actId="47"/>
      <pc:docMkLst>
        <pc:docMk/>
      </pc:docMkLst>
      <pc:sldChg chg="del">
        <pc:chgData name="Wang, Jinghui" userId="db008e23-cf85-46b7-bc9b-fead09591f21" providerId="ADAL" clId="{83C737AB-B719-4DB1-8B59-3DBE00D56B2F}" dt="2023-03-16T11:14:09.273" v="0" actId="47"/>
        <pc:sldMkLst>
          <pc:docMk/>
          <pc:sldMk cId="392589713" sldId="259"/>
        </pc:sldMkLst>
      </pc:sldChg>
    </pc:docChg>
  </pc:docChgLst>
  <pc:docChgLst>
    <pc:chgData name="Wang, Jinghui" userId="db008e23-cf85-46b7-bc9b-fead09591f21" providerId="ADAL" clId="{2E25B540-8EE7-4996-B615-993941E76749}"/>
    <pc:docChg chg="undo custSel addSld modSld">
      <pc:chgData name="Wang, Jinghui" userId="db008e23-cf85-46b7-bc9b-fead09591f21" providerId="ADAL" clId="{2E25B540-8EE7-4996-B615-993941E76749}" dt="2023-03-15T19:01:16.210" v="398" actId="114"/>
      <pc:docMkLst>
        <pc:docMk/>
      </pc:docMkLst>
      <pc:sldChg chg="modSp mod">
        <pc:chgData name="Wang, Jinghui" userId="db008e23-cf85-46b7-bc9b-fead09591f21" providerId="ADAL" clId="{2E25B540-8EE7-4996-B615-993941E76749}" dt="2023-03-14T19:16:21.716" v="0" actId="20577"/>
        <pc:sldMkLst>
          <pc:docMk/>
          <pc:sldMk cId="1553903558" sldId="264"/>
        </pc:sldMkLst>
        <pc:spChg chg="mod">
          <ac:chgData name="Wang, Jinghui" userId="db008e23-cf85-46b7-bc9b-fead09591f21" providerId="ADAL" clId="{2E25B540-8EE7-4996-B615-993941E76749}" dt="2023-03-14T19:16:21.716" v="0" actId="20577"/>
          <ac:spMkLst>
            <pc:docMk/>
            <pc:sldMk cId="1553903558" sldId="264"/>
            <ac:spMk id="11" creationId="{42349D84-0AF5-D77B-8C94-BF32BDD39FB5}"/>
          </ac:spMkLst>
        </pc:spChg>
      </pc:sldChg>
      <pc:sldChg chg="addSp modSp mod">
        <pc:chgData name="Wang, Jinghui" userId="db008e23-cf85-46b7-bc9b-fead09591f21" providerId="ADAL" clId="{2E25B540-8EE7-4996-B615-993941E76749}" dt="2023-03-15T13:39:01.611" v="178" actId="207"/>
        <pc:sldMkLst>
          <pc:docMk/>
          <pc:sldMk cId="3059740303" sldId="266"/>
        </pc:sldMkLst>
        <pc:spChg chg="add mod">
          <ac:chgData name="Wang, Jinghui" userId="db008e23-cf85-46b7-bc9b-fead09591f21" providerId="ADAL" clId="{2E25B540-8EE7-4996-B615-993941E76749}" dt="2023-03-15T13:39:01.611" v="178" actId="207"/>
          <ac:spMkLst>
            <pc:docMk/>
            <pc:sldMk cId="3059740303" sldId="266"/>
            <ac:spMk id="2" creationId="{EAF86E12-1EAF-7FF7-BAFF-33AF20B59D80}"/>
          </ac:spMkLst>
        </pc:spChg>
        <pc:spChg chg="mod">
          <ac:chgData name="Wang, Jinghui" userId="db008e23-cf85-46b7-bc9b-fead09591f21" providerId="ADAL" clId="{2E25B540-8EE7-4996-B615-993941E76749}" dt="2023-03-15T13:37:39.042" v="119" actId="1076"/>
          <ac:spMkLst>
            <pc:docMk/>
            <pc:sldMk cId="3059740303" sldId="266"/>
            <ac:spMk id="9" creationId="{194C2EA0-CDC6-51A1-4C2C-253E4C8F6D19}"/>
          </ac:spMkLst>
        </pc:spChg>
        <pc:picChg chg="mod">
          <ac:chgData name="Wang, Jinghui" userId="db008e23-cf85-46b7-bc9b-fead09591f21" providerId="ADAL" clId="{2E25B540-8EE7-4996-B615-993941E76749}" dt="2023-03-15T13:37:42.312" v="120" actId="1076"/>
          <ac:picMkLst>
            <pc:docMk/>
            <pc:sldMk cId="3059740303" sldId="266"/>
            <ac:picMk id="5" creationId="{692FB072-9900-A742-6CBF-61551A9F5D5F}"/>
          </ac:picMkLst>
        </pc:picChg>
      </pc:sldChg>
      <pc:sldChg chg="modSp mod">
        <pc:chgData name="Wang, Jinghui" userId="db008e23-cf85-46b7-bc9b-fead09591f21" providerId="ADAL" clId="{2E25B540-8EE7-4996-B615-993941E76749}" dt="2023-03-14T19:17:40.145" v="56" actId="20577"/>
        <pc:sldMkLst>
          <pc:docMk/>
          <pc:sldMk cId="2380391490" sldId="271"/>
        </pc:sldMkLst>
        <pc:spChg chg="mod">
          <ac:chgData name="Wang, Jinghui" userId="db008e23-cf85-46b7-bc9b-fead09591f21" providerId="ADAL" clId="{2E25B540-8EE7-4996-B615-993941E76749}" dt="2023-03-14T19:17:40.145" v="56" actId="20577"/>
          <ac:spMkLst>
            <pc:docMk/>
            <pc:sldMk cId="2380391490" sldId="271"/>
            <ac:spMk id="3" creationId="{D160CB06-600F-A536-4401-279A88887857}"/>
          </ac:spMkLst>
        </pc:spChg>
      </pc:sldChg>
      <pc:sldChg chg="modSp mod">
        <pc:chgData name="Wang, Jinghui" userId="db008e23-cf85-46b7-bc9b-fead09591f21" providerId="ADAL" clId="{2E25B540-8EE7-4996-B615-993941E76749}" dt="2023-03-14T19:17:15.059" v="54" actId="20577"/>
        <pc:sldMkLst>
          <pc:docMk/>
          <pc:sldMk cId="1714945860" sldId="273"/>
        </pc:sldMkLst>
        <pc:spChg chg="mod">
          <ac:chgData name="Wang, Jinghui" userId="db008e23-cf85-46b7-bc9b-fead09591f21" providerId="ADAL" clId="{2E25B540-8EE7-4996-B615-993941E76749}" dt="2023-03-14T19:17:15.059" v="54" actId="20577"/>
          <ac:spMkLst>
            <pc:docMk/>
            <pc:sldMk cId="1714945860" sldId="273"/>
            <ac:spMk id="3" creationId="{7347AEB0-EEF0-312E-F9D7-3D18A4A7628F}"/>
          </ac:spMkLst>
        </pc:spChg>
      </pc:sldChg>
      <pc:sldChg chg="modSp mod">
        <pc:chgData name="Wang, Jinghui" userId="db008e23-cf85-46b7-bc9b-fead09591f21" providerId="ADAL" clId="{2E25B540-8EE7-4996-B615-993941E76749}" dt="2023-03-14T19:17:29.545" v="55"/>
        <pc:sldMkLst>
          <pc:docMk/>
          <pc:sldMk cId="2765767937" sldId="274"/>
        </pc:sldMkLst>
        <pc:spChg chg="mod">
          <ac:chgData name="Wang, Jinghui" userId="db008e23-cf85-46b7-bc9b-fead09591f21" providerId="ADAL" clId="{2E25B540-8EE7-4996-B615-993941E76749}" dt="2023-03-14T19:17:29.545" v="55"/>
          <ac:spMkLst>
            <pc:docMk/>
            <pc:sldMk cId="2765767937" sldId="274"/>
            <ac:spMk id="3" creationId="{7347AEB0-EEF0-312E-F9D7-3D18A4A7628F}"/>
          </ac:spMkLst>
        </pc:spChg>
      </pc:sldChg>
      <pc:sldChg chg="modSp mod">
        <pc:chgData name="Wang, Jinghui" userId="db008e23-cf85-46b7-bc9b-fead09591f21" providerId="ADAL" clId="{2E25B540-8EE7-4996-B615-993941E76749}" dt="2023-03-14T19:20:20.701" v="62" actId="14100"/>
        <pc:sldMkLst>
          <pc:docMk/>
          <pc:sldMk cId="3395277047" sldId="279"/>
        </pc:sldMkLst>
        <pc:spChg chg="mod">
          <ac:chgData name="Wang, Jinghui" userId="db008e23-cf85-46b7-bc9b-fead09591f21" providerId="ADAL" clId="{2E25B540-8EE7-4996-B615-993941E76749}" dt="2023-03-14T19:20:20.701" v="62" actId="14100"/>
          <ac:spMkLst>
            <pc:docMk/>
            <pc:sldMk cId="3395277047" sldId="279"/>
            <ac:spMk id="3" creationId="{035C6FD2-70D7-6467-2ACF-202BA81447A9}"/>
          </ac:spMkLst>
        </pc:spChg>
      </pc:sldChg>
      <pc:sldChg chg="addSp modSp mod">
        <pc:chgData name="Wang, Jinghui" userId="db008e23-cf85-46b7-bc9b-fead09591f21" providerId="ADAL" clId="{2E25B540-8EE7-4996-B615-993941E76749}" dt="2023-03-15T13:40:23.787" v="239" actId="1076"/>
        <pc:sldMkLst>
          <pc:docMk/>
          <pc:sldMk cId="1004583141" sldId="284"/>
        </pc:sldMkLst>
        <pc:spChg chg="add mod">
          <ac:chgData name="Wang, Jinghui" userId="db008e23-cf85-46b7-bc9b-fead09591f21" providerId="ADAL" clId="{2E25B540-8EE7-4996-B615-993941E76749}" dt="2023-03-15T13:40:23.787" v="239" actId="1076"/>
          <ac:spMkLst>
            <pc:docMk/>
            <pc:sldMk cId="1004583141" sldId="284"/>
            <ac:spMk id="4" creationId="{3FB60009-E223-ACC6-0A87-CF8185F8EE92}"/>
          </ac:spMkLst>
        </pc:spChg>
      </pc:sldChg>
      <pc:sldChg chg="addSp modSp mod modAnim">
        <pc:chgData name="Wang, Jinghui" userId="db008e23-cf85-46b7-bc9b-fead09591f21" providerId="ADAL" clId="{2E25B540-8EE7-4996-B615-993941E76749}" dt="2023-03-15T13:15:29.879" v="117"/>
        <pc:sldMkLst>
          <pc:docMk/>
          <pc:sldMk cId="1201898606" sldId="288"/>
        </pc:sldMkLst>
        <pc:cxnChg chg="add mod">
          <ac:chgData name="Wang, Jinghui" userId="db008e23-cf85-46b7-bc9b-fead09591f21" providerId="ADAL" clId="{2E25B540-8EE7-4996-B615-993941E76749}" dt="2023-03-15T13:15:14.651" v="115" actId="208"/>
          <ac:cxnSpMkLst>
            <pc:docMk/>
            <pc:sldMk cId="1201898606" sldId="288"/>
            <ac:cxnSpMk id="5" creationId="{EE9C56FF-F5D8-5DF4-FDA5-A85F60F1C9E0}"/>
          </ac:cxnSpMkLst>
        </pc:cxnChg>
      </pc:sldChg>
      <pc:sldChg chg="addSp modSp mod">
        <pc:chgData name="Wang, Jinghui" userId="db008e23-cf85-46b7-bc9b-fead09591f21" providerId="ADAL" clId="{2E25B540-8EE7-4996-B615-993941E76749}" dt="2023-03-15T18:59:59.025" v="390" actId="114"/>
        <pc:sldMkLst>
          <pc:docMk/>
          <pc:sldMk cId="388019969" sldId="290"/>
        </pc:sldMkLst>
        <pc:spChg chg="add mod">
          <ac:chgData name="Wang, Jinghui" userId="db008e23-cf85-46b7-bc9b-fead09591f21" providerId="ADAL" clId="{2E25B540-8EE7-4996-B615-993941E76749}" dt="2023-03-15T13:41:23.287" v="304" actId="1076"/>
          <ac:spMkLst>
            <pc:docMk/>
            <pc:sldMk cId="388019969" sldId="290"/>
            <ac:spMk id="2" creationId="{AF1C7EE6-8CD0-C5C4-0DD9-D68D79AD8993}"/>
          </ac:spMkLst>
        </pc:spChg>
        <pc:spChg chg="mod">
          <ac:chgData name="Wang, Jinghui" userId="db008e23-cf85-46b7-bc9b-fead09591f21" providerId="ADAL" clId="{2E25B540-8EE7-4996-B615-993941E76749}" dt="2023-03-15T18:59:59.025" v="390" actId="114"/>
          <ac:spMkLst>
            <pc:docMk/>
            <pc:sldMk cId="388019969" sldId="290"/>
            <ac:spMk id="3" creationId="{BAADACB0-BB6B-FB92-666A-5EA3C8A5842B}"/>
          </ac:spMkLst>
        </pc:spChg>
      </pc:sldChg>
      <pc:sldChg chg="addSp modSp mod">
        <pc:chgData name="Wang, Jinghui" userId="db008e23-cf85-46b7-bc9b-fead09591f21" providerId="ADAL" clId="{2E25B540-8EE7-4996-B615-993941E76749}" dt="2023-03-15T19:00:11.391" v="392" actId="114"/>
        <pc:sldMkLst>
          <pc:docMk/>
          <pc:sldMk cId="4254493917" sldId="292"/>
        </pc:sldMkLst>
        <pc:spChg chg="mod">
          <ac:chgData name="Wang, Jinghui" userId="db008e23-cf85-46b7-bc9b-fead09591f21" providerId="ADAL" clId="{2E25B540-8EE7-4996-B615-993941E76749}" dt="2023-03-15T19:00:11.391" v="392" actId="114"/>
          <ac:spMkLst>
            <pc:docMk/>
            <pc:sldMk cId="4254493917" sldId="292"/>
            <ac:spMk id="3" creationId="{BAADACB0-BB6B-FB92-666A-5EA3C8A5842B}"/>
          </ac:spMkLst>
        </pc:spChg>
        <pc:spChg chg="add mod">
          <ac:chgData name="Wang, Jinghui" userId="db008e23-cf85-46b7-bc9b-fead09591f21" providerId="ADAL" clId="{2E25B540-8EE7-4996-B615-993941E76749}" dt="2023-03-15T13:41:47.025" v="313" actId="1076"/>
          <ac:spMkLst>
            <pc:docMk/>
            <pc:sldMk cId="4254493917" sldId="292"/>
            <ac:spMk id="4" creationId="{71AA566A-441F-4F8E-7F4E-ECE498520F89}"/>
          </ac:spMkLst>
        </pc:spChg>
      </pc:sldChg>
      <pc:sldChg chg="addSp modSp mod">
        <pc:chgData name="Wang, Jinghui" userId="db008e23-cf85-46b7-bc9b-fead09591f21" providerId="ADAL" clId="{2E25B540-8EE7-4996-B615-993941E76749}" dt="2023-03-15T19:00:38.416" v="396" actId="114"/>
        <pc:sldMkLst>
          <pc:docMk/>
          <pc:sldMk cId="2065776304" sldId="293"/>
        </pc:sldMkLst>
        <pc:spChg chg="mod">
          <ac:chgData name="Wang, Jinghui" userId="db008e23-cf85-46b7-bc9b-fead09591f21" providerId="ADAL" clId="{2E25B540-8EE7-4996-B615-993941E76749}" dt="2023-03-15T19:00:38.416" v="396" actId="114"/>
          <ac:spMkLst>
            <pc:docMk/>
            <pc:sldMk cId="2065776304" sldId="293"/>
            <ac:spMk id="3" creationId="{BAADACB0-BB6B-FB92-666A-5EA3C8A5842B}"/>
          </ac:spMkLst>
        </pc:spChg>
        <pc:spChg chg="add mod">
          <ac:chgData name="Wang, Jinghui" userId="db008e23-cf85-46b7-bc9b-fead09591f21" providerId="ADAL" clId="{2E25B540-8EE7-4996-B615-993941E76749}" dt="2023-03-15T13:42:09.822" v="324" actId="1076"/>
          <ac:spMkLst>
            <pc:docMk/>
            <pc:sldMk cId="2065776304" sldId="293"/>
            <ac:spMk id="4" creationId="{8EAF0D91-2C90-8ED3-18C7-78CA2611D334}"/>
          </ac:spMkLst>
        </pc:spChg>
      </pc:sldChg>
      <pc:sldChg chg="addSp modSp mod">
        <pc:chgData name="Wang, Jinghui" userId="db008e23-cf85-46b7-bc9b-fead09591f21" providerId="ADAL" clId="{2E25B540-8EE7-4996-B615-993941E76749}" dt="2023-03-15T19:00:26.428" v="394" actId="114"/>
        <pc:sldMkLst>
          <pc:docMk/>
          <pc:sldMk cId="1004402269" sldId="295"/>
        </pc:sldMkLst>
        <pc:spChg chg="add mod">
          <ac:chgData name="Wang, Jinghui" userId="db008e23-cf85-46b7-bc9b-fead09591f21" providerId="ADAL" clId="{2E25B540-8EE7-4996-B615-993941E76749}" dt="2023-03-15T13:43:03.330" v="388" actId="1076"/>
          <ac:spMkLst>
            <pc:docMk/>
            <pc:sldMk cId="1004402269" sldId="295"/>
            <ac:spMk id="3" creationId="{B7473373-D904-A557-EA38-3F3CCE81EF38}"/>
          </ac:spMkLst>
        </pc:spChg>
        <pc:spChg chg="mod">
          <ac:chgData name="Wang, Jinghui" userId="db008e23-cf85-46b7-bc9b-fead09591f21" providerId="ADAL" clId="{2E25B540-8EE7-4996-B615-993941E76749}" dt="2023-03-15T19:00:26.428" v="394" actId="114"/>
          <ac:spMkLst>
            <pc:docMk/>
            <pc:sldMk cId="1004402269" sldId="295"/>
            <ac:spMk id="12" creationId="{24E14579-9032-FB0A-C545-C379D388A8B2}"/>
          </ac:spMkLst>
        </pc:spChg>
        <pc:picChg chg="mod">
          <ac:chgData name="Wang, Jinghui" userId="db008e23-cf85-46b7-bc9b-fead09591f21" providerId="ADAL" clId="{2E25B540-8EE7-4996-B615-993941E76749}" dt="2023-03-15T13:42:21.137" v="327" actId="14100"/>
          <ac:picMkLst>
            <pc:docMk/>
            <pc:sldMk cId="1004402269" sldId="295"/>
            <ac:picMk id="2" creationId="{F5573E09-5D57-6BCB-90D5-28F196E950BC}"/>
          </ac:picMkLst>
        </pc:picChg>
      </pc:sldChg>
      <pc:sldChg chg="modSp mod">
        <pc:chgData name="Wang, Jinghui" userId="db008e23-cf85-46b7-bc9b-fead09591f21" providerId="ADAL" clId="{2E25B540-8EE7-4996-B615-993941E76749}" dt="2023-03-15T19:01:16.210" v="398" actId="114"/>
        <pc:sldMkLst>
          <pc:docMk/>
          <pc:sldMk cId="3850762462" sldId="297"/>
        </pc:sldMkLst>
        <pc:spChg chg="mod">
          <ac:chgData name="Wang, Jinghui" userId="db008e23-cf85-46b7-bc9b-fead09591f21" providerId="ADAL" clId="{2E25B540-8EE7-4996-B615-993941E76749}" dt="2023-03-15T19:01:16.210" v="398" actId="114"/>
          <ac:spMkLst>
            <pc:docMk/>
            <pc:sldMk cId="3850762462" sldId="297"/>
            <ac:spMk id="12" creationId="{24E14579-9032-FB0A-C545-C379D388A8B2}"/>
          </ac:spMkLst>
        </pc:spChg>
      </pc:sldChg>
      <pc:sldChg chg="delSp modSp new mod">
        <pc:chgData name="Wang, Jinghui" userId="db008e23-cf85-46b7-bc9b-fead09591f21" providerId="ADAL" clId="{2E25B540-8EE7-4996-B615-993941E76749}" dt="2023-03-15T12:27:09.307" v="84" actId="255"/>
        <pc:sldMkLst>
          <pc:docMk/>
          <pc:sldMk cId="121109398" sldId="308"/>
        </pc:sldMkLst>
        <pc:spChg chg="del">
          <ac:chgData name="Wang, Jinghui" userId="db008e23-cf85-46b7-bc9b-fead09591f21" providerId="ADAL" clId="{2E25B540-8EE7-4996-B615-993941E76749}" dt="2023-03-15T12:26:58.130" v="80" actId="478"/>
          <ac:spMkLst>
            <pc:docMk/>
            <pc:sldMk cId="121109398" sldId="308"/>
            <ac:spMk id="2" creationId="{695DB66B-E34A-2CC2-D535-DCB3EF395A74}"/>
          </ac:spMkLst>
        </pc:spChg>
        <pc:spChg chg="mod">
          <ac:chgData name="Wang, Jinghui" userId="db008e23-cf85-46b7-bc9b-fead09591f21" providerId="ADAL" clId="{2E25B540-8EE7-4996-B615-993941E76749}" dt="2023-03-15T12:27:09.307" v="84" actId="255"/>
          <ac:spMkLst>
            <pc:docMk/>
            <pc:sldMk cId="121109398" sldId="308"/>
            <ac:spMk id="3" creationId="{18B30E71-E09C-96E0-0F23-9F0C9589F25C}"/>
          </ac:spMkLst>
        </pc:spChg>
      </pc:sldChg>
      <pc:sldChg chg="addSp delSp modSp new mod">
        <pc:chgData name="Wang, Jinghui" userId="db008e23-cf85-46b7-bc9b-fead09591f21" providerId="ADAL" clId="{2E25B540-8EE7-4996-B615-993941E76749}" dt="2023-03-15T12:30:46.136" v="109" actId="1076"/>
        <pc:sldMkLst>
          <pc:docMk/>
          <pc:sldMk cId="854050509" sldId="309"/>
        </pc:sldMkLst>
        <pc:spChg chg="del">
          <ac:chgData name="Wang, Jinghui" userId="db008e23-cf85-46b7-bc9b-fead09591f21" providerId="ADAL" clId="{2E25B540-8EE7-4996-B615-993941E76749}" dt="2023-03-15T12:27:51.958" v="86" actId="478"/>
          <ac:spMkLst>
            <pc:docMk/>
            <pc:sldMk cId="854050509" sldId="309"/>
            <ac:spMk id="2" creationId="{A10A93F3-1D9E-8B46-05BE-94C07F2E6616}"/>
          </ac:spMkLst>
        </pc:spChg>
        <pc:spChg chg="mod">
          <ac:chgData name="Wang, Jinghui" userId="db008e23-cf85-46b7-bc9b-fead09591f21" providerId="ADAL" clId="{2E25B540-8EE7-4996-B615-993941E76749}" dt="2023-03-15T12:28:03.463" v="107" actId="20577"/>
          <ac:spMkLst>
            <pc:docMk/>
            <pc:sldMk cId="854050509" sldId="309"/>
            <ac:spMk id="3" creationId="{0EF0AF31-8040-579D-D53B-4C2E8F2E4626}"/>
          </ac:spMkLst>
        </pc:spChg>
        <pc:picChg chg="add mod">
          <ac:chgData name="Wang, Jinghui" userId="db008e23-cf85-46b7-bc9b-fead09591f21" providerId="ADAL" clId="{2E25B540-8EE7-4996-B615-993941E76749}" dt="2023-03-15T12:30:46.136" v="109" actId="1076"/>
          <ac:picMkLst>
            <pc:docMk/>
            <pc:sldMk cId="854050509" sldId="309"/>
            <ac:picMk id="4" creationId="{5E8C648D-251A-EC2D-97C2-AC2B2CD84BB2}"/>
          </ac:picMkLst>
        </pc:picChg>
      </pc:sldChg>
    </pc:docChg>
  </pc:docChgLst>
  <pc:docChgLst>
    <pc:chgData name="Zelasko, John M" userId="S::john.zelasko@aramcoamericas.com::6b5f4299-bcc0-4fe2-be20-49123aab1eb4" providerId="AD" clId="Web-{90F65B13-8FE8-7A73-261E-B2FFB7D4333B}"/>
    <pc:docChg chg="modSld">
      <pc:chgData name="Zelasko, John M" userId="S::john.zelasko@aramcoamericas.com::6b5f4299-bcc0-4fe2-be20-49123aab1eb4" providerId="AD" clId="Web-{90F65B13-8FE8-7A73-261E-B2FFB7D4333B}" dt="2023-03-14T17:32:47.329" v="583" actId="20577"/>
      <pc:docMkLst>
        <pc:docMk/>
      </pc:docMkLst>
      <pc:sldChg chg="modSp">
        <pc:chgData name="Zelasko, John M" userId="S::john.zelasko@aramcoamericas.com::6b5f4299-bcc0-4fe2-be20-49123aab1eb4" providerId="AD" clId="Web-{90F65B13-8FE8-7A73-261E-B2FFB7D4333B}" dt="2023-03-14T17:03:48.831" v="9" actId="20577"/>
        <pc:sldMkLst>
          <pc:docMk/>
          <pc:sldMk cId="283168857" sldId="257"/>
        </pc:sldMkLst>
        <pc:graphicFrameChg chg="modGraphic">
          <ac:chgData name="Zelasko, John M" userId="S::john.zelasko@aramcoamericas.com::6b5f4299-bcc0-4fe2-be20-49123aab1eb4" providerId="AD" clId="Web-{90F65B13-8FE8-7A73-261E-B2FFB7D4333B}" dt="2023-03-14T17:03:48.831" v="9" actId="20577"/>
          <ac:graphicFrameMkLst>
            <pc:docMk/>
            <pc:sldMk cId="283168857" sldId="257"/>
            <ac:graphicFrameMk id="3" creationId="{3258FFF1-FE3D-994B-34F3-6ABC88B8ECD2}"/>
          </ac:graphicFrameMkLst>
        </pc:graphicFrameChg>
      </pc:sldChg>
      <pc:sldChg chg="modSp">
        <pc:chgData name="Zelasko, John M" userId="S::john.zelasko@aramcoamericas.com::6b5f4299-bcc0-4fe2-be20-49123aab1eb4" providerId="AD" clId="Web-{90F65B13-8FE8-7A73-261E-B2FFB7D4333B}" dt="2023-03-14T17:05:23.272" v="23" actId="20577"/>
        <pc:sldMkLst>
          <pc:docMk/>
          <pc:sldMk cId="3059740303" sldId="266"/>
        </pc:sldMkLst>
        <pc:spChg chg="mod">
          <ac:chgData name="Zelasko, John M" userId="S::john.zelasko@aramcoamericas.com::6b5f4299-bcc0-4fe2-be20-49123aab1eb4" providerId="AD" clId="Web-{90F65B13-8FE8-7A73-261E-B2FFB7D4333B}" dt="2023-03-14T17:04:40.333" v="12" actId="20577"/>
          <ac:spMkLst>
            <pc:docMk/>
            <pc:sldMk cId="3059740303" sldId="266"/>
            <ac:spMk id="6" creationId="{A7A3B93F-AAA0-29D7-37DE-3FB995DBA7CE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05:23.272" v="23" actId="20577"/>
          <ac:spMkLst>
            <pc:docMk/>
            <pc:sldMk cId="3059740303" sldId="266"/>
            <ac:spMk id="7" creationId="{8C8DFDCC-205D-ED8B-22E5-7D0CBF259D97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14:38.900" v="216" actId="20577"/>
        <pc:sldMkLst>
          <pc:docMk/>
          <pc:sldMk cId="2487279298" sldId="267"/>
        </pc:sldMkLst>
        <pc:spChg chg="mod">
          <ac:chgData name="Zelasko, John M" userId="S::john.zelasko@aramcoamericas.com::6b5f4299-bcc0-4fe2-be20-49123aab1eb4" providerId="AD" clId="Web-{90F65B13-8FE8-7A73-261E-B2FFB7D4333B}" dt="2023-03-14T17:14:38.900" v="216" actId="20577"/>
          <ac:spMkLst>
            <pc:docMk/>
            <pc:sldMk cId="2487279298" sldId="267"/>
            <ac:spMk id="3" creationId="{C317AA37-94F4-D389-C591-37DF8C184F0A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13:51.414" v="198" actId="20577"/>
        <pc:sldMkLst>
          <pc:docMk/>
          <pc:sldMk cId="2380391490" sldId="271"/>
        </pc:sldMkLst>
        <pc:spChg chg="mod">
          <ac:chgData name="Zelasko, John M" userId="S::john.zelasko@aramcoamericas.com::6b5f4299-bcc0-4fe2-be20-49123aab1eb4" providerId="AD" clId="Web-{90F65B13-8FE8-7A73-261E-B2FFB7D4333B}" dt="2023-03-14T17:13:51.414" v="198" actId="20577"/>
          <ac:spMkLst>
            <pc:docMk/>
            <pc:sldMk cId="2380391490" sldId="271"/>
            <ac:spMk id="3" creationId="{D160CB06-600F-A536-4401-279A88887857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13:06.991" v="145" actId="14100"/>
          <ac:spMkLst>
            <pc:docMk/>
            <pc:sldMk cId="2380391490" sldId="271"/>
            <ac:spMk id="5" creationId="{20B5FB68-1C71-EA83-9021-8914C060243F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18:10.689" v="316" actId="20577"/>
        <pc:sldMkLst>
          <pc:docMk/>
          <pc:sldMk cId="2252395937" sldId="272"/>
        </pc:sldMkLst>
        <pc:spChg chg="mod">
          <ac:chgData name="Zelasko, John M" userId="S::john.zelasko@aramcoamericas.com::6b5f4299-bcc0-4fe2-be20-49123aab1eb4" providerId="AD" clId="Web-{90F65B13-8FE8-7A73-261E-B2FFB7D4333B}" dt="2023-03-14T17:18:10.689" v="316" actId="20577"/>
          <ac:spMkLst>
            <pc:docMk/>
            <pc:sldMk cId="2252395937" sldId="272"/>
            <ac:spMk id="3" creationId="{3BF6C958-F7F5-211D-88D0-19A83A2D0369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09:46.218" v="87" actId="20577"/>
        <pc:sldMkLst>
          <pc:docMk/>
          <pc:sldMk cId="1714945860" sldId="273"/>
        </pc:sldMkLst>
        <pc:spChg chg="mod">
          <ac:chgData name="Zelasko, John M" userId="S::john.zelasko@aramcoamericas.com::6b5f4299-bcc0-4fe2-be20-49123aab1eb4" providerId="AD" clId="Web-{90F65B13-8FE8-7A73-261E-B2FFB7D4333B}" dt="2023-03-14T17:09:46.218" v="87" actId="20577"/>
          <ac:spMkLst>
            <pc:docMk/>
            <pc:sldMk cId="1714945860" sldId="273"/>
            <ac:spMk id="3" creationId="{7347AEB0-EEF0-312E-F9D7-3D18A4A7628F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30:05.136" v="552" actId="20577"/>
        <pc:sldMkLst>
          <pc:docMk/>
          <pc:sldMk cId="2765767937" sldId="274"/>
        </pc:sldMkLst>
        <pc:spChg chg="mod">
          <ac:chgData name="Zelasko, John M" userId="S::john.zelasko@aramcoamericas.com::6b5f4299-bcc0-4fe2-be20-49123aab1eb4" providerId="AD" clId="Web-{90F65B13-8FE8-7A73-261E-B2FFB7D4333B}" dt="2023-03-14T17:10:27.110" v="96" actId="20577"/>
          <ac:spMkLst>
            <pc:docMk/>
            <pc:sldMk cId="2765767937" sldId="274"/>
            <ac:spMk id="3" creationId="{7347AEB0-EEF0-312E-F9D7-3D18A4A7628F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30:05.136" v="552" actId="20577"/>
          <ac:spMkLst>
            <pc:docMk/>
            <pc:sldMk cId="2765767937" sldId="274"/>
            <ac:spMk id="11" creationId="{90996CE4-6A98-898D-2370-74C15858E6FC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18:49.362" v="319" actId="14100"/>
        <pc:sldMkLst>
          <pc:docMk/>
          <pc:sldMk cId="1752627326" sldId="277"/>
        </pc:sldMkLst>
        <pc:spChg chg="mod">
          <ac:chgData name="Zelasko, John M" userId="S::john.zelasko@aramcoamericas.com::6b5f4299-bcc0-4fe2-be20-49123aab1eb4" providerId="AD" clId="Web-{90F65B13-8FE8-7A73-261E-B2FFB7D4333B}" dt="2023-03-14T17:18:49.362" v="319" actId="14100"/>
          <ac:spMkLst>
            <pc:docMk/>
            <pc:sldMk cId="1752627326" sldId="277"/>
            <ac:spMk id="3" creationId="{3BF6C958-F7F5-211D-88D0-19A83A2D0369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0:02.224" v="322" actId="20577"/>
        <pc:sldMkLst>
          <pc:docMk/>
          <pc:sldMk cId="3395277047" sldId="279"/>
        </pc:sldMkLst>
        <pc:spChg chg="mod">
          <ac:chgData name="Zelasko, John M" userId="S::john.zelasko@aramcoamericas.com::6b5f4299-bcc0-4fe2-be20-49123aab1eb4" providerId="AD" clId="Web-{90F65B13-8FE8-7A73-261E-B2FFB7D4333B}" dt="2023-03-14T17:20:02.224" v="322" actId="20577"/>
          <ac:spMkLst>
            <pc:docMk/>
            <pc:sldMk cId="3395277047" sldId="279"/>
            <ac:spMk id="2" creationId="{38CD82C7-309B-7573-9228-E63BD90F689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1:06.836" v="356" actId="20577"/>
        <pc:sldMkLst>
          <pc:docMk/>
          <pc:sldMk cId="3972885818" sldId="280"/>
        </pc:sldMkLst>
        <pc:spChg chg="mod">
          <ac:chgData name="Zelasko, John M" userId="S::john.zelasko@aramcoamericas.com::6b5f4299-bcc0-4fe2-be20-49123aab1eb4" providerId="AD" clId="Web-{90F65B13-8FE8-7A73-261E-B2FFB7D4333B}" dt="2023-03-14T17:21:06.836" v="356" actId="20577"/>
          <ac:spMkLst>
            <pc:docMk/>
            <pc:sldMk cId="3972885818" sldId="280"/>
            <ac:spMk id="3" creationId="{BAADACB0-BB6B-FB92-666A-5EA3C8A5842B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1:03.258" v="355" actId="20577"/>
        <pc:sldMkLst>
          <pc:docMk/>
          <pc:sldMk cId="3586710869" sldId="281"/>
        </pc:sldMkLst>
        <pc:spChg chg="mod">
          <ac:chgData name="Zelasko, John M" userId="S::john.zelasko@aramcoamericas.com::6b5f4299-bcc0-4fe2-be20-49123aab1eb4" providerId="AD" clId="Web-{90F65B13-8FE8-7A73-261E-B2FFB7D4333B}" dt="2023-03-14T17:21:03.258" v="355" actId="20577"/>
          <ac:spMkLst>
            <pc:docMk/>
            <pc:sldMk cId="3586710869" sldId="281"/>
            <ac:spMk id="3" creationId="{BAADACB0-BB6B-FB92-666A-5EA3C8A5842B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2:20.792" v="381" actId="20577"/>
        <pc:sldMkLst>
          <pc:docMk/>
          <pc:sldMk cId="1004583141" sldId="284"/>
        </pc:sldMkLst>
        <pc:spChg chg="mod">
          <ac:chgData name="Zelasko, John M" userId="S::john.zelasko@aramcoamericas.com::6b5f4299-bcc0-4fe2-be20-49123aab1eb4" providerId="AD" clId="Web-{90F65B13-8FE8-7A73-261E-B2FFB7D4333B}" dt="2023-03-14T17:22:20.792" v="381" actId="20577"/>
          <ac:spMkLst>
            <pc:docMk/>
            <pc:sldMk cId="1004583141" sldId="284"/>
            <ac:spMk id="5" creationId="{A259875E-6BCA-4089-BA6A-CD1168B57ACF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1:26.337" v="358" actId="20577"/>
        <pc:sldMkLst>
          <pc:docMk/>
          <pc:sldMk cId="2088004024" sldId="285"/>
        </pc:sldMkLst>
        <pc:spChg chg="mod">
          <ac:chgData name="Zelasko, John M" userId="S::john.zelasko@aramcoamericas.com::6b5f4299-bcc0-4fe2-be20-49123aab1eb4" providerId="AD" clId="Web-{90F65B13-8FE8-7A73-261E-B2FFB7D4333B}" dt="2023-03-14T17:21:26.337" v="358" actId="20577"/>
          <ac:spMkLst>
            <pc:docMk/>
            <pc:sldMk cId="2088004024" sldId="285"/>
            <ac:spMk id="3" creationId="{10647954-18B5-6207-FFD6-1AAFE8C1AB86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2:37.589" v="384" actId="20577"/>
        <pc:sldMkLst>
          <pc:docMk/>
          <pc:sldMk cId="388019969" sldId="290"/>
        </pc:sldMkLst>
        <pc:spChg chg="mod">
          <ac:chgData name="Zelasko, John M" userId="S::john.zelasko@aramcoamericas.com::6b5f4299-bcc0-4fe2-be20-49123aab1eb4" providerId="AD" clId="Web-{90F65B13-8FE8-7A73-261E-B2FFB7D4333B}" dt="2023-03-14T17:22:37.589" v="384" actId="20577"/>
          <ac:spMkLst>
            <pc:docMk/>
            <pc:sldMk cId="388019969" sldId="290"/>
            <ac:spMk id="3" creationId="{BAADACB0-BB6B-FB92-666A-5EA3C8A5842B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3:06.778" v="393" actId="20577"/>
        <pc:sldMkLst>
          <pc:docMk/>
          <pc:sldMk cId="4254493917" sldId="292"/>
        </pc:sldMkLst>
        <pc:spChg chg="mod">
          <ac:chgData name="Zelasko, John M" userId="S::john.zelasko@aramcoamericas.com::6b5f4299-bcc0-4fe2-be20-49123aab1eb4" providerId="AD" clId="Web-{90F65B13-8FE8-7A73-261E-B2FFB7D4333B}" dt="2023-03-14T17:23:06.778" v="393" actId="20577"/>
          <ac:spMkLst>
            <pc:docMk/>
            <pc:sldMk cId="4254493917" sldId="292"/>
            <ac:spMk id="3" creationId="{BAADACB0-BB6B-FB92-666A-5EA3C8A5842B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4:03.467" v="411" actId="20577"/>
        <pc:sldMkLst>
          <pc:docMk/>
          <pc:sldMk cId="2065776304" sldId="293"/>
        </pc:sldMkLst>
        <pc:spChg chg="mod">
          <ac:chgData name="Zelasko, John M" userId="S::john.zelasko@aramcoamericas.com::6b5f4299-bcc0-4fe2-be20-49123aab1eb4" providerId="AD" clId="Web-{90F65B13-8FE8-7A73-261E-B2FFB7D4333B}" dt="2023-03-14T17:24:03.467" v="411" actId="20577"/>
          <ac:spMkLst>
            <pc:docMk/>
            <pc:sldMk cId="2065776304" sldId="293"/>
            <ac:spMk id="3" creationId="{BAADACB0-BB6B-FB92-666A-5EA3C8A5842B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4:47" v="432" actId="20577"/>
        <pc:sldMkLst>
          <pc:docMk/>
          <pc:sldMk cId="1004402269" sldId="295"/>
        </pc:sldMkLst>
        <pc:spChg chg="mod">
          <ac:chgData name="Zelasko, John M" userId="S::john.zelasko@aramcoamericas.com::6b5f4299-bcc0-4fe2-be20-49123aab1eb4" providerId="AD" clId="Web-{90F65B13-8FE8-7A73-261E-B2FFB7D4333B}" dt="2023-03-14T17:24:47" v="432" actId="20577"/>
          <ac:spMkLst>
            <pc:docMk/>
            <pc:sldMk cId="1004402269" sldId="295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4:59.954" v="439" actId="20577"/>
        <pc:sldMkLst>
          <pc:docMk/>
          <pc:sldMk cId="3850762462" sldId="297"/>
        </pc:sldMkLst>
        <pc:spChg chg="mod">
          <ac:chgData name="Zelasko, John M" userId="S::john.zelasko@aramcoamericas.com::6b5f4299-bcc0-4fe2-be20-49123aab1eb4" providerId="AD" clId="Web-{90F65B13-8FE8-7A73-261E-B2FFB7D4333B}" dt="2023-03-14T17:24:59.954" v="439" actId="20577"/>
          <ac:spMkLst>
            <pc:docMk/>
            <pc:sldMk cId="3850762462" sldId="297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32:47.329" v="583" actId="20577"/>
        <pc:sldMkLst>
          <pc:docMk/>
          <pc:sldMk cId="2935169057" sldId="298"/>
        </pc:sldMkLst>
        <pc:spChg chg="mod">
          <ac:chgData name="Zelasko, John M" userId="S::john.zelasko@aramcoamericas.com::6b5f4299-bcc0-4fe2-be20-49123aab1eb4" providerId="AD" clId="Web-{90F65B13-8FE8-7A73-261E-B2FFB7D4333B}" dt="2023-03-14T17:32:47.329" v="583" actId="20577"/>
          <ac:spMkLst>
            <pc:docMk/>
            <pc:sldMk cId="2935169057" sldId="298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8:59.087" v="550" actId="20577"/>
        <pc:sldMkLst>
          <pc:docMk/>
          <pc:sldMk cId="1645062904" sldId="299"/>
        </pc:sldMkLst>
        <pc:spChg chg="mod">
          <ac:chgData name="Zelasko, John M" userId="S::john.zelasko@aramcoamericas.com::6b5f4299-bcc0-4fe2-be20-49123aab1eb4" providerId="AD" clId="Web-{90F65B13-8FE8-7A73-261E-B2FFB7D4333B}" dt="2023-03-14T17:28:59.087" v="550" actId="20577"/>
          <ac:spMkLst>
            <pc:docMk/>
            <pc:sldMk cId="1645062904" sldId="299"/>
            <ac:spMk id="4" creationId="{5F1B716D-F702-FF9E-2BD0-E34CC2171CC4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28:52.930" v="549" actId="20577"/>
          <ac:spMkLst>
            <pc:docMk/>
            <pc:sldMk cId="1645062904" sldId="299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6:29.816" v="510" actId="20577"/>
        <pc:sldMkLst>
          <pc:docMk/>
          <pc:sldMk cId="2700758949" sldId="301"/>
        </pc:sldMkLst>
        <pc:spChg chg="mod">
          <ac:chgData name="Zelasko, John M" userId="S::john.zelasko@aramcoamericas.com::6b5f4299-bcc0-4fe2-be20-49123aab1eb4" providerId="AD" clId="Web-{90F65B13-8FE8-7A73-261E-B2FFB7D4333B}" dt="2023-03-14T17:26:29.816" v="510" actId="20577"/>
          <ac:spMkLst>
            <pc:docMk/>
            <pc:sldMk cId="2700758949" sldId="301"/>
            <ac:spMk id="10" creationId="{F0B6D45A-F705-CC94-4E5E-E0A36D0A3B96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25:47.111" v="461" actId="20577"/>
          <ac:spMkLst>
            <pc:docMk/>
            <pc:sldMk cId="2700758949" sldId="301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27:56.288" v="534" actId="20577"/>
        <pc:sldMkLst>
          <pc:docMk/>
          <pc:sldMk cId="181269708" sldId="302"/>
        </pc:sldMkLst>
        <pc:spChg chg="mod">
          <ac:chgData name="Zelasko, John M" userId="S::john.zelasko@aramcoamericas.com::6b5f4299-bcc0-4fe2-be20-49123aab1eb4" providerId="AD" clId="Web-{90F65B13-8FE8-7A73-261E-B2FFB7D4333B}" dt="2023-03-14T17:27:56.288" v="534" actId="20577"/>
          <ac:spMkLst>
            <pc:docMk/>
            <pc:sldMk cId="181269708" sldId="302"/>
            <ac:spMk id="4" creationId="{71B790A3-4D9C-BB1E-7691-B06995AB16B8}"/>
          </ac:spMkLst>
        </pc:spChg>
        <pc:spChg chg="mod">
          <ac:chgData name="Zelasko, John M" userId="S::john.zelasko@aramcoamericas.com::6b5f4299-bcc0-4fe2-be20-49123aab1eb4" providerId="AD" clId="Web-{90F65B13-8FE8-7A73-261E-B2FFB7D4333B}" dt="2023-03-14T17:26:38.348" v="515" actId="20577"/>
          <ac:spMkLst>
            <pc:docMk/>
            <pc:sldMk cId="181269708" sldId="302"/>
            <ac:spMk id="12" creationId="{24E14579-9032-FB0A-C545-C379D388A8B2}"/>
          </ac:spMkLst>
        </pc:spChg>
      </pc:sldChg>
      <pc:sldChg chg="modSp">
        <pc:chgData name="Zelasko, John M" userId="S::john.zelasko@aramcoamericas.com::6b5f4299-bcc0-4fe2-be20-49123aab1eb4" providerId="AD" clId="Web-{90F65B13-8FE8-7A73-261E-B2FFB7D4333B}" dt="2023-03-14T17:31:30.655" v="581" actId="20577"/>
        <pc:sldMkLst>
          <pc:docMk/>
          <pc:sldMk cId="2342781149" sldId="305"/>
        </pc:sldMkLst>
        <pc:graphicFrameChg chg="modGraphic">
          <ac:chgData name="Zelasko, John M" userId="S::john.zelasko@aramcoamericas.com::6b5f4299-bcc0-4fe2-be20-49123aab1eb4" providerId="AD" clId="Web-{90F65B13-8FE8-7A73-261E-B2FFB7D4333B}" dt="2023-03-14T17:31:30.655" v="581" actId="20577"/>
          <ac:graphicFrameMkLst>
            <pc:docMk/>
            <pc:sldMk cId="2342781149" sldId="305"/>
            <ac:graphicFrameMk id="3" creationId="{3258FFF1-FE3D-994B-34F3-6ABC88B8ECD2}"/>
          </ac:graphicFrameMkLst>
        </pc:graphicFrameChg>
      </pc:sldChg>
      <pc:sldChg chg="modSp">
        <pc:chgData name="Zelasko, John M" userId="S::john.zelasko@aramcoamericas.com::6b5f4299-bcc0-4fe2-be20-49123aab1eb4" providerId="AD" clId="Web-{90F65B13-8FE8-7A73-261E-B2FFB7D4333B}" dt="2023-03-14T17:28:26.039" v="548" actId="20577"/>
        <pc:sldMkLst>
          <pc:docMk/>
          <pc:sldMk cId="222808007" sldId="307"/>
        </pc:sldMkLst>
        <pc:graphicFrameChg chg="modGraphic">
          <ac:chgData name="Zelasko, John M" userId="S::john.zelasko@aramcoamericas.com::6b5f4299-bcc0-4fe2-be20-49123aab1eb4" providerId="AD" clId="Web-{90F65B13-8FE8-7A73-261E-B2FFB7D4333B}" dt="2023-03-14T17:28:26.039" v="548" actId="20577"/>
          <ac:graphicFrameMkLst>
            <pc:docMk/>
            <pc:sldMk cId="222808007" sldId="307"/>
            <ac:graphicFrameMk id="3" creationId="{3258FFF1-FE3D-994B-34F3-6ABC88B8ECD2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858F58-B97C-AC4E-B4A9-8210F6AF43EE}" type="datetimeFigureOut">
              <a:rPr lang="en-US" smtClean="0"/>
              <a:t>4/2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AEBAB3-E5A3-164D-AA93-18467A99A0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201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EBAB3-E5A3-164D-AA93-18467A99A0A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872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over_circle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065588"/>
            <a:ext cx="5626100" cy="279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SA_LOGO_ONLINE_TAGLINE_SPOT_POS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7038" y="6348413"/>
            <a:ext cx="1965325" cy="14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8638" y="330200"/>
            <a:ext cx="1863725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88" y="1373727"/>
            <a:ext cx="8231187" cy="1620172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89" y="3236927"/>
            <a:ext cx="4113212" cy="685277"/>
          </a:xfrm>
        </p:spPr>
        <p:txBody>
          <a:bodyPr/>
          <a:lstStyle>
            <a:lvl1pPr marL="0" indent="0" algn="l">
              <a:buNone/>
              <a:defRPr sz="1200" b="1" cap="all">
                <a:solidFill>
                  <a:srgbClr val="55565A"/>
                </a:solidFill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408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32E6FEB8-59BE-41F6-B087-5A8FE99549D3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36" y="254927"/>
            <a:ext cx="8263247" cy="683452"/>
          </a:xfrm>
        </p:spPr>
        <p:txBody>
          <a:bodyPr/>
          <a:lstStyle>
            <a:lvl1pPr algn="l">
              <a:defRPr sz="38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36" y="965669"/>
            <a:ext cx="8263247" cy="684513"/>
          </a:xfrm>
        </p:spPr>
        <p:txBody>
          <a:bodyPr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05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45836" y="3346724"/>
            <a:ext cx="8263247" cy="2870007"/>
          </a:xfrm>
        </p:spPr>
        <p:txBody>
          <a:bodyPr rtlCol="0">
            <a:noAutofit/>
          </a:bodyPr>
          <a:lstStyle>
            <a:lvl1pPr marL="0" indent="0">
              <a:buNone/>
              <a:defRPr lang="en-US" sz="204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400455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Grey">
    <p:bg>
      <p:bgPr>
        <a:solidFill>
          <a:srgbClr val="8F91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88AA645D-9B56-41E8-95C0-F8F2871FD5C4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36" y="254927"/>
            <a:ext cx="8263247" cy="683452"/>
          </a:xfrm>
        </p:spPr>
        <p:txBody>
          <a:bodyPr/>
          <a:lstStyle>
            <a:lvl1pPr algn="l">
              <a:defRPr sz="38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36" y="965669"/>
            <a:ext cx="8263247" cy="684513"/>
          </a:xfrm>
        </p:spPr>
        <p:txBody>
          <a:bodyPr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05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45836" y="3346724"/>
            <a:ext cx="8263247" cy="2870007"/>
          </a:xfrm>
        </p:spPr>
        <p:txBody>
          <a:bodyPr rtlCol="0">
            <a:noAutofit/>
          </a:bodyPr>
          <a:lstStyle>
            <a:lvl1pPr marL="0" indent="0">
              <a:buNone/>
              <a:defRPr lang="en-US" sz="204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2323928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CB229119-D7C4-4FCF-BDCF-1398A368A771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36" y="254927"/>
            <a:ext cx="8263247" cy="683452"/>
          </a:xfrm>
        </p:spPr>
        <p:txBody>
          <a:bodyPr/>
          <a:lstStyle>
            <a:lvl1pPr algn="l">
              <a:defRPr sz="38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36" y="965669"/>
            <a:ext cx="8263247" cy="684513"/>
          </a:xfrm>
        </p:spPr>
        <p:txBody>
          <a:bodyPr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05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45836" y="3346724"/>
            <a:ext cx="8263247" cy="2870007"/>
          </a:xfrm>
        </p:spPr>
        <p:txBody>
          <a:bodyPr rtlCol="0">
            <a:noAutofit/>
          </a:bodyPr>
          <a:lstStyle>
            <a:lvl1pPr marL="0" indent="0">
              <a:buNone/>
              <a:defRPr lang="en-US" sz="204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5928485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Dark Blue">
    <p:bg>
      <p:bgPr>
        <a:solidFill>
          <a:srgbClr val="0033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4C78E6F3-C4A8-41EF-B864-D678AFBCBA31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36" y="254927"/>
            <a:ext cx="8263247" cy="683452"/>
          </a:xfrm>
        </p:spPr>
        <p:txBody>
          <a:bodyPr/>
          <a:lstStyle>
            <a:lvl1pPr algn="l">
              <a:defRPr sz="38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36" y="965669"/>
            <a:ext cx="8263247" cy="684513"/>
          </a:xfrm>
        </p:spPr>
        <p:txBody>
          <a:bodyPr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05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45836" y="3346724"/>
            <a:ext cx="8263247" cy="2870007"/>
          </a:xfrm>
        </p:spPr>
        <p:txBody>
          <a:bodyPr rtlCol="0">
            <a:noAutofit/>
          </a:bodyPr>
          <a:lstStyle>
            <a:lvl1pPr marL="0" indent="0">
              <a:buNone/>
              <a:defRPr lang="en-US" sz="204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37415446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 5"/>
          <p:cNvSpPr/>
          <p:nvPr/>
        </p:nvSpPr>
        <p:spPr>
          <a:xfrm>
            <a:off x="3432175" y="0"/>
            <a:ext cx="5711825" cy="6864350"/>
          </a:xfrm>
          <a:custGeom>
            <a:avLst/>
            <a:gdLst>
              <a:gd name="connsiteX0" fmla="*/ 0 w 5711902"/>
              <a:gd name="connsiteY0" fmla="*/ 6858000 h 6858000"/>
              <a:gd name="connsiteX1" fmla="*/ 1496118 w 5711902"/>
              <a:gd name="connsiteY1" fmla="*/ 0 h 6858000"/>
              <a:gd name="connsiteX2" fmla="*/ 5711902 w 5711902"/>
              <a:gd name="connsiteY2" fmla="*/ 0 h 6858000"/>
              <a:gd name="connsiteX3" fmla="*/ 4215784 w 5711902"/>
              <a:gd name="connsiteY3" fmla="*/ 6858000 h 6858000"/>
              <a:gd name="connsiteX4" fmla="*/ 0 w 5711902"/>
              <a:gd name="connsiteY4" fmla="*/ 6858000 h 6858000"/>
              <a:gd name="connsiteX0" fmla="*/ 0 w 5711902"/>
              <a:gd name="connsiteY0" fmla="*/ 6858000 h 6864195"/>
              <a:gd name="connsiteX1" fmla="*/ 1496118 w 5711902"/>
              <a:gd name="connsiteY1" fmla="*/ 0 h 6864195"/>
              <a:gd name="connsiteX2" fmla="*/ 5711902 w 5711902"/>
              <a:gd name="connsiteY2" fmla="*/ 0 h 6864195"/>
              <a:gd name="connsiteX3" fmla="*/ 5708808 w 5711902"/>
              <a:gd name="connsiteY3" fmla="*/ 6864195 h 6864195"/>
              <a:gd name="connsiteX4" fmla="*/ 0 w 5711902"/>
              <a:gd name="connsiteY4" fmla="*/ 6858000 h 6864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1902" h="6864195">
                <a:moveTo>
                  <a:pt x="0" y="6858000"/>
                </a:moveTo>
                <a:lnTo>
                  <a:pt x="1496118" y="0"/>
                </a:lnTo>
                <a:lnTo>
                  <a:pt x="5711902" y="0"/>
                </a:lnTo>
                <a:cubicBezTo>
                  <a:pt x="5710871" y="2288065"/>
                  <a:pt x="5709839" y="4576130"/>
                  <a:pt x="5708808" y="6864195"/>
                </a:cubicBez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90000">
                <a:schemeClr val="tx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1" tIns="45706" rIns="91411" bIns="45706" anchor="ctr"/>
          <a:lstStyle/>
          <a:p>
            <a:pPr algn="ctr" defTabSz="45705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7" y="0"/>
            <a:ext cx="4943844" cy="6858000"/>
          </a:xfrm>
          <a:custGeom>
            <a:avLst/>
            <a:gdLst>
              <a:gd name="connsiteX0" fmla="*/ 0 w 4930775"/>
              <a:gd name="connsiteY0" fmla="*/ 6858000 h 6858000"/>
              <a:gd name="connsiteX1" fmla="*/ 1474302 w 4930775"/>
              <a:gd name="connsiteY1" fmla="*/ 0 h 6858000"/>
              <a:gd name="connsiteX2" fmla="*/ 4930775 w 4930775"/>
              <a:gd name="connsiteY2" fmla="*/ 0 h 6858000"/>
              <a:gd name="connsiteX3" fmla="*/ 3456473 w 4930775"/>
              <a:gd name="connsiteY3" fmla="*/ 6858000 h 6858000"/>
              <a:gd name="connsiteX4" fmla="*/ 0 w 4930775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56610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6195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  <a:gd name="connsiteX0" fmla="*/ 137 w 4930912"/>
              <a:gd name="connsiteY0" fmla="*/ 6858000 h 6858000"/>
              <a:gd name="connsiteX1" fmla="*/ 0 w 4930912"/>
              <a:gd name="connsiteY1" fmla="*/ 0 h 6858000"/>
              <a:gd name="connsiteX2" fmla="*/ 4930912 w 4930912"/>
              <a:gd name="connsiteY2" fmla="*/ 0 h 6858000"/>
              <a:gd name="connsiteX3" fmla="*/ 3438025 w 4930912"/>
              <a:gd name="connsiteY3" fmla="*/ 6858000 h 6858000"/>
              <a:gd name="connsiteX4" fmla="*/ 137 w 49309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30912" h="6858000">
                <a:moveTo>
                  <a:pt x="137" y="6858000"/>
                </a:moveTo>
                <a:cubicBezTo>
                  <a:pt x="91" y="4574065"/>
                  <a:pt x="46" y="2283935"/>
                  <a:pt x="0" y="0"/>
                </a:cubicBezTo>
                <a:lnTo>
                  <a:pt x="4930912" y="0"/>
                </a:lnTo>
                <a:lnTo>
                  <a:pt x="3438025" y="6858000"/>
                </a:lnTo>
                <a:lnTo>
                  <a:pt x="137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470297"/>
            <a:ext cx="3787149" cy="2615184"/>
          </a:xfrm>
        </p:spPr>
        <p:txBody>
          <a:bodyPr rtlCol="0">
            <a:noAutofit/>
          </a:bodyPr>
          <a:lstStyle>
            <a:lvl1pPr marL="0" indent="0">
              <a:buFont typeface="Arial"/>
              <a:buNone/>
              <a:def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4307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921886" y="1470297"/>
            <a:ext cx="3787149" cy="2615184"/>
          </a:xfrm>
        </p:spPr>
        <p:txBody>
          <a:bodyPr rtlCol="0">
            <a:noAutofit/>
          </a:bodyPr>
          <a:lstStyle>
            <a:lvl1pPr marL="0" indent="0">
              <a:buNone/>
              <a:def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813" y="274690"/>
            <a:ext cx="8264215" cy="824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411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adient">
    <p:bg>
      <p:bgPr>
        <a:gradFill rotWithShape="1">
          <a:gsLst>
            <a:gs pos="0">
              <a:srgbClr val="84BD00"/>
            </a:gs>
            <a:gs pos="10001">
              <a:srgbClr val="84BD00"/>
            </a:gs>
            <a:gs pos="100000">
              <a:schemeClr val="tx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9EA9C220-A69A-429C-9F51-F2049EC53F4A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74694"/>
            <a:ext cx="8264215" cy="5486825"/>
          </a:xfrm>
        </p:spPr>
        <p:txBody>
          <a:bodyPr/>
          <a:lstStyle>
            <a:lvl1pPr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 dirty="0" smtClean="0">
                <a:solidFill>
                  <a:srgbClr val="FFFFFF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 smtClean="0">
                <a:solidFill>
                  <a:srgbClr val="FFFFFF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32498020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over_hexago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568700"/>
            <a:ext cx="6300788" cy="328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SA_LOGO_ONLINE_TAGLINE_SPOT_POS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7038" y="6348413"/>
            <a:ext cx="1965325" cy="14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8313" y="330200"/>
            <a:ext cx="1863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88" y="1373727"/>
            <a:ext cx="8231187" cy="1620172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89" y="3236927"/>
            <a:ext cx="4113212" cy="685277"/>
          </a:xfrm>
        </p:spPr>
        <p:txBody>
          <a:bodyPr/>
          <a:lstStyle>
            <a:lvl1pPr marL="0" indent="0" algn="l">
              <a:buNone/>
              <a:defRPr sz="1200" b="1" cap="all">
                <a:solidFill>
                  <a:srgbClr val="55565A"/>
                </a:solidFill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870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over_triangle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468563"/>
            <a:ext cx="7491413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SA_LOGO_ONLINE_TAGLINE_SPOT_POS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7038" y="6348413"/>
            <a:ext cx="1965325" cy="14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8313" y="330200"/>
            <a:ext cx="1863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88" y="1373727"/>
            <a:ext cx="8231187" cy="1620172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92" y="3236927"/>
            <a:ext cx="4107017" cy="685277"/>
          </a:xfrm>
        </p:spPr>
        <p:txBody>
          <a:bodyPr/>
          <a:lstStyle>
            <a:lvl1pPr marL="0" indent="0" algn="l">
              <a:buNone/>
              <a:defRPr sz="1200" b="1" cap="all">
                <a:solidFill>
                  <a:srgbClr val="55565A"/>
                </a:solidFill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9516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"/>
          <p:cNvGrpSpPr>
            <a:grpSpLocks/>
          </p:cNvGrpSpPr>
          <p:nvPr/>
        </p:nvGrpSpPr>
        <p:grpSpPr bwMode="auto">
          <a:xfrm>
            <a:off x="0" y="3644900"/>
            <a:ext cx="9144000" cy="3213100"/>
            <a:chOff x="0" y="3645408"/>
            <a:chExt cx="9144000" cy="3212592"/>
          </a:xfrm>
        </p:grpSpPr>
        <p:pic>
          <p:nvPicPr>
            <p:cNvPr id="5" name="Picture 11" descr="cover_wave.jp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645408"/>
              <a:ext cx="9144000" cy="3212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2" descr="SA_LOGO_ONLINE_TAGLINE_SPOT_POS.jp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7253" y="6349010"/>
              <a:ext cx="1965594" cy="1473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8313" y="330200"/>
            <a:ext cx="1863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88" y="1373727"/>
            <a:ext cx="8231187" cy="1620172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89" y="3236927"/>
            <a:ext cx="4113212" cy="685277"/>
          </a:xfrm>
        </p:spPr>
        <p:txBody>
          <a:bodyPr/>
          <a:lstStyle>
            <a:lvl1pPr marL="0" indent="0" algn="l">
              <a:buNone/>
              <a:defRPr sz="1200" b="1" cap="all">
                <a:solidFill>
                  <a:srgbClr val="55565A"/>
                </a:solidFill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329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117162"/>
            <a:ext cx="8264215" cy="45667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216324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a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"/>
          <p:cNvGrpSpPr>
            <a:grpSpLocks/>
          </p:cNvGrpSpPr>
          <p:nvPr/>
        </p:nvGrpSpPr>
        <p:grpSpPr bwMode="auto">
          <a:xfrm>
            <a:off x="0" y="2511425"/>
            <a:ext cx="9144000" cy="4346575"/>
            <a:chOff x="0" y="2511552"/>
            <a:chExt cx="9144000" cy="4346448"/>
          </a:xfrm>
        </p:grpSpPr>
        <p:pic>
          <p:nvPicPr>
            <p:cNvPr id="5" name="Picture 11" descr="cover_wave2.jp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511552"/>
              <a:ext cx="9144000" cy="43464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2" descr="SA_LOGO_ONLINE_TAGLINE_SPOT_POS.jp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7253" y="6349010"/>
              <a:ext cx="1965594" cy="1473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8313" y="330200"/>
            <a:ext cx="1863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88" y="1373727"/>
            <a:ext cx="8231187" cy="1620172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789" y="3236927"/>
            <a:ext cx="4113212" cy="685277"/>
          </a:xfrm>
        </p:spPr>
        <p:txBody>
          <a:bodyPr/>
          <a:lstStyle>
            <a:lvl1pPr marL="0" indent="0" algn="l">
              <a:buNone/>
              <a:defRPr sz="1200" b="1" cap="all">
                <a:solidFill>
                  <a:srgbClr val="55565A"/>
                </a:solidFill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82443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5650" y="2827338"/>
            <a:ext cx="255270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93392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Red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8109" y="3014053"/>
            <a:ext cx="7772703" cy="1362075"/>
          </a:xfrm>
        </p:spPr>
        <p:txBody>
          <a:bodyPr/>
          <a:lstStyle>
            <a:lvl1pPr algn="l">
              <a:defRPr sz="45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424866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5" y="163513"/>
            <a:ext cx="8274050" cy="831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5" y="1509714"/>
            <a:ext cx="8274051" cy="416052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458788" indent="-222250">
              <a:defRPr/>
            </a:lvl2pPr>
            <a:lvl3pPr marL="904875" indent="-211138">
              <a:defRPr/>
            </a:lvl3pPr>
            <a:lvl4pPr marL="1368425" indent="-217488"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98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5" y="163513"/>
            <a:ext cx="8274050" cy="831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4" y="1508760"/>
            <a:ext cx="8275320" cy="4160520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1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7517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74690"/>
            <a:ext cx="8264215" cy="8242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56" y="1481327"/>
            <a:ext cx="4038600" cy="457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0424" y="1481327"/>
            <a:ext cx="4038600" cy="457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442327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13" y="274690"/>
            <a:ext cx="8264215" cy="8242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809" y="1481327"/>
            <a:ext cx="2606040" cy="457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73897" y="1481327"/>
            <a:ext cx="2606040" cy="457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02984" y="1481327"/>
            <a:ext cx="2606040" cy="457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2552853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59" y="2137323"/>
            <a:ext cx="1779239" cy="3916011"/>
          </a:xfrm>
        </p:spPr>
        <p:txBody>
          <a:bodyPr/>
          <a:lstStyle>
            <a:lvl1pPr marL="111087" indent="-111087">
              <a:spcBef>
                <a:spcPts val="300"/>
              </a:spcBef>
              <a:buFont typeface="+mj-lt"/>
              <a:buAutoNum type="arabicPeriod"/>
              <a:defRPr sz="1000">
                <a:solidFill>
                  <a:schemeClr val="tx2"/>
                </a:solidFill>
              </a:defRPr>
            </a:lvl1pPr>
            <a:lvl2pPr marL="111087" indent="0">
              <a:spcBef>
                <a:spcPts val="300"/>
              </a:spcBef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2242209" y="1480838"/>
            <a:ext cx="6468132" cy="4571807"/>
          </a:xfrm>
        </p:spPr>
        <p:txBody>
          <a:bodyPr rtlCol="0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3510368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320561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2776362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868DB0A3-CA0F-4DBD-B638-1C97F99DFB0C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809" y="256081"/>
            <a:ext cx="8264216" cy="824221"/>
          </a:xfrm>
        </p:spPr>
        <p:txBody>
          <a:bodyPr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813" y="1480499"/>
            <a:ext cx="8264215" cy="4566704"/>
          </a:xfrm>
        </p:spPr>
        <p:txBody>
          <a:bodyPr/>
          <a:lstStyle>
            <a:lvl1pPr marL="457051" indent="-457051">
              <a:spcBef>
                <a:spcPts val="1400"/>
              </a:spcBef>
              <a:buFont typeface="+mj-lt"/>
              <a:buAutoNum type="arabicPeriod"/>
              <a:defRPr sz="20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466961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0DD233A9-AD1C-42B5-A55D-88615D5F9DF9}" type="slidenum">
              <a:rPr lang="en-US" altLang="en-US" sz="800">
                <a:solidFill>
                  <a:srgbClr val="FFFFFF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433388" y="6208713"/>
            <a:ext cx="8275637" cy="0"/>
          </a:xfrm>
          <a:prstGeom prst="line">
            <a:avLst/>
          </a:prstGeom>
          <a:ln w="254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2" descr="SA_PRINT_LOGO_MRKT_CMYK_NE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0963" y="6329363"/>
            <a:ext cx="987425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36" y="254927"/>
            <a:ext cx="8263247" cy="683452"/>
          </a:xfrm>
        </p:spPr>
        <p:txBody>
          <a:bodyPr/>
          <a:lstStyle>
            <a:lvl1pPr algn="l">
              <a:defRPr sz="3800" b="0" cap="none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36" y="965669"/>
            <a:ext cx="8263247" cy="684513"/>
          </a:xfrm>
        </p:spPr>
        <p:txBody>
          <a:bodyPr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05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45836" y="3346724"/>
            <a:ext cx="8263247" cy="2870007"/>
          </a:xfrm>
        </p:spPr>
        <p:txBody>
          <a:bodyPr rtlCol="0">
            <a:noAutofit/>
          </a:bodyPr>
          <a:lstStyle>
            <a:lvl1pPr marL="0" indent="0">
              <a:buNone/>
              <a:defRPr lang="en-US" sz="20400" b="0" cap="none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algn="l" defTabSz="914400">
              <a:defRPr sz="800" dirty="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914400">
              <a:defRPr lang="en-US" sz="800" smtClean="0">
                <a:solidFill>
                  <a:prstClr val="white"/>
                </a:solidFill>
                <a:ea typeface="+mn-ea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</p:spTree>
    <p:extLst>
      <p:ext uri="{BB962C8B-B14F-4D97-AF65-F5344CB8AC3E}">
        <p14:creationId xmlns:p14="http://schemas.microsoft.com/office/powerpoint/2010/main" val="154655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44500" y="6370638"/>
            <a:ext cx="268288" cy="223837"/>
          </a:xfrm>
          <a:prstGeom prst="rect">
            <a:avLst/>
          </a:prstGeom>
        </p:spPr>
        <p:txBody>
          <a:bodyPr lIns="0" tIns="45706" rIns="0" bIns="45706" anchor="ctr"/>
          <a:lstStyle>
            <a:lvl1pPr defTabSz="455613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fld id="{E211B82F-5CFC-4E22-BED2-E59BA69CCC67}" type="slidenum">
              <a:rPr lang="en-US" altLang="en-US" sz="800">
                <a:solidFill>
                  <a:srgbClr val="53565A"/>
                </a:solidFill>
                <a:ea typeface="MS PGothic" pitchFamily="34" charset="-128"/>
              </a:rPr>
              <a:pPr/>
              <a:t>‹#›</a:t>
            </a:fld>
            <a:endParaRPr lang="en-US" altLang="en-US" sz="800">
              <a:solidFill>
                <a:srgbClr val="53565A"/>
              </a:solidFill>
              <a:ea typeface="MS PGothic" pitchFamily="34" charset="-128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44500" y="274638"/>
            <a:ext cx="8264525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6" rIns="0" bIns="45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4500" y="1481138"/>
            <a:ext cx="8264525" cy="456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6" rIns="0" bIns="45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550" y="6372225"/>
            <a:ext cx="542925" cy="220663"/>
          </a:xfrm>
          <a:prstGeom prst="rect">
            <a:avLst/>
          </a:prstGeom>
        </p:spPr>
        <p:txBody>
          <a:bodyPr vert="horz" lIns="0" tIns="45706" rIns="0" bIns="45706" rtlCol="0" anchor="ctr"/>
          <a:lstStyle>
            <a:lvl1pPr algn="l" defTabSz="457051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rgbClr val="53565A"/>
                </a:solidFill>
                <a:latin typeface="+mn-lt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27/10/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7550" y="6510338"/>
            <a:ext cx="2895600" cy="220662"/>
          </a:xfrm>
          <a:prstGeom prst="rect">
            <a:avLst/>
          </a:prstGeom>
        </p:spPr>
        <p:txBody>
          <a:bodyPr vert="horz" lIns="0" tIns="45706" rIns="0" bIns="45706" rtlCol="0" anchor="ctr"/>
          <a:lstStyle>
            <a:lvl1pPr defTabSz="457051" fontAlgn="auto">
              <a:spcBef>
                <a:spcPts val="0"/>
              </a:spcBef>
              <a:spcAft>
                <a:spcPts val="0"/>
              </a:spcAft>
              <a:defRPr lang="en-US" sz="800" dirty="0" smtClean="0">
                <a:solidFill>
                  <a:srgbClr val="53565A"/>
                </a:solidFill>
                <a:latin typeface="+mn-lt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r>
              <a:t>Copyright note text (8pt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421" y="6211888"/>
            <a:ext cx="8275637" cy="0"/>
          </a:xfrm>
          <a:prstGeom prst="line">
            <a:avLst/>
          </a:prstGeom>
          <a:ln w="25400" cmpd="sng">
            <a:gradFill flip="none" rotWithShape="1">
              <a:gsLst>
                <a:gs pos="10000">
                  <a:schemeClr val="bg2"/>
                </a:gs>
                <a:gs pos="90000">
                  <a:schemeClr val="tx2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2" name="Picture 8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2000" y="6224588"/>
            <a:ext cx="160020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SIPCMContentMarking" descr="{&quot;HashCode&quot;:170675586,&quot;Placement&quot;:&quot;Footer&quot;,&quot;Top&quot;:513.960144,&quot;Left&quot;:269.451416,&quot;SlideWidth&quot;:720,&quot;SlideHeight&quot;:540}">
            <a:extLst>
              <a:ext uri="{FF2B5EF4-FFF2-40B4-BE49-F238E27FC236}">
                <a16:creationId xmlns:a16="http://schemas.microsoft.com/office/drawing/2014/main" id="{ADE32532-FAD0-4AD3-86C7-FC2BC10AC6DB}"/>
              </a:ext>
            </a:extLst>
          </p:cNvPr>
          <p:cNvSpPr txBox="1"/>
          <p:nvPr/>
        </p:nvSpPr>
        <p:spPr>
          <a:xfrm>
            <a:off x="3422033" y="6527294"/>
            <a:ext cx="2299933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8000"/>
                </a:solidFill>
                <a:latin typeface="Calibri" panose="020F0502020204030204" pitchFamily="34" charset="0"/>
              </a:rPr>
              <a:t>Classification: General Us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4111" r:id="rId23"/>
    <p:sldLayoutId id="2147484112" r:id="rId24"/>
  </p:sldLayoutIdLst>
  <p:hf sldNum="0" hdr="0" ftr="0" dt="0"/>
  <p:txStyles>
    <p:titleStyle>
      <a:lvl1pPr algn="l" defTabSz="455613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2pPr>
      <a:lvl3pPr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3pPr>
      <a:lvl4pPr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4pPr>
      <a:lvl5pPr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5pPr>
      <a:lvl6pPr marL="457200"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6pPr>
      <a:lvl7pPr marL="914400"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7pPr>
      <a:lvl8pPr marL="1371600"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8pPr>
      <a:lvl9pPr marL="1828800" algn="l" defTabSz="455613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9pPr>
    </p:titleStyle>
    <p:bodyStyle>
      <a:lvl1pPr marL="228600" indent="-228600" algn="l" defTabSz="455613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38" indent="-222250" algn="l" defTabSz="455613" rtl="0" eaLnBrk="1" fontAlgn="base" hangingPunct="1">
        <a:spcBef>
          <a:spcPts val="600"/>
        </a:spcBef>
        <a:spcAft>
          <a:spcPct val="0"/>
        </a:spcAft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8600" algn="l" defTabSz="455613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2813" indent="-228600" algn="l" defTabSz="455613" rtl="0" eaLnBrk="1" fontAlgn="base" hangingPunct="1">
        <a:spcBef>
          <a:spcPts val="600"/>
        </a:spcBef>
        <a:spcAft>
          <a:spcPct val="0"/>
        </a:spcAft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5613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96" indent="-228527" algn="l" defTabSz="45705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9" indent="-228527" algn="l" defTabSz="45705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05" indent="-228527" algn="l" defTabSz="45705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56" indent="-228527" algn="l" defTabSz="45705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6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1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2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8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4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75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28" algn="l" defTabSz="457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ADACB0-BB6B-FB92-666A-5EA3C8A58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1" y="274638"/>
            <a:ext cx="4228084" cy="493458"/>
          </a:xfrm>
        </p:spPr>
        <p:txBody>
          <a:bodyPr/>
          <a:lstStyle/>
          <a:p>
            <a:r>
              <a:rPr lang="en-US" dirty="0"/>
              <a:t>History of Automated Vehic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1D9C8A6-A67A-DA80-B824-0A6683743559}"/>
              </a:ext>
            </a:extLst>
          </p:cNvPr>
          <p:cNvGrpSpPr/>
          <p:nvPr/>
        </p:nvGrpSpPr>
        <p:grpSpPr>
          <a:xfrm>
            <a:off x="150074" y="1236505"/>
            <a:ext cx="8843851" cy="4887108"/>
            <a:chOff x="388515" y="-1039453"/>
            <a:chExt cx="11791801" cy="651614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FADD30CE-3880-FC24-0D10-B21D018E4B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84375" y="2768636"/>
              <a:ext cx="0" cy="1845845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3413FA8-9FC7-E868-88A4-4F8A8696A5CC}"/>
                </a:ext>
              </a:extLst>
            </p:cNvPr>
            <p:cNvSpPr txBox="1"/>
            <p:nvPr/>
          </p:nvSpPr>
          <p:spPr>
            <a:xfrm>
              <a:off x="4475515" y="607966"/>
              <a:ext cx="1807417" cy="12311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86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First use of LiDAR, computer vision, and autonomous robotic control to direct an automated vehicle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1276BB5-1AFB-6C70-4B40-9ED31854EF05}"/>
                </a:ext>
              </a:extLst>
            </p:cNvPr>
            <p:cNvCxnSpPr>
              <a:cxnSpLocks/>
            </p:cNvCxnSpPr>
            <p:nvPr/>
          </p:nvCxnSpPr>
          <p:spPr>
            <a:xfrm>
              <a:off x="4614766" y="1791729"/>
              <a:ext cx="1483743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FD0F997-FF16-3BEF-70CA-AC2491149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4873" y="2716307"/>
              <a:ext cx="8124" cy="1898175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407BF7-7237-428C-9C38-01898D7882A2}"/>
                </a:ext>
              </a:extLst>
            </p:cNvPr>
            <p:cNvSpPr txBox="1"/>
            <p:nvPr/>
          </p:nvSpPr>
          <p:spPr>
            <a:xfrm>
              <a:off x="1426330" y="3153303"/>
              <a:ext cx="1654643" cy="104644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3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“Automated Vehicle” first time propelled via electromagnetic field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8B2AAAF-DD31-38AC-C077-D3576E97EC65}"/>
                </a:ext>
              </a:extLst>
            </p:cNvPr>
            <p:cNvSpPr txBox="1"/>
            <p:nvPr/>
          </p:nvSpPr>
          <p:spPr>
            <a:xfrm>
              <a:off x="3152687" y="1223390"/>
              <a:ext cx="1267115" cy="104644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58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Sensor was first used to move steering wheel left or righ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15E5275-16AD-4916-9763-82833DF7D224}"/>
                </a:ext>
              </a:extLst>
            </p:cNvPr>
            <p:cNvSpPr txBox="1"/>
            <p:nvPr/>
          </p:nvSpPr>
          <p:spPr>
            <a:xfrm>
              <a:off x="3192774" y="3218428"/>
              <a:ext cx="1402319" cy="861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61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First use of camera in “automated vehicle”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6BCDBFB-6908-3D18-8618-AAB2F7BA9B06}"/>
                </a:ext>
              </a:extLst>
            </p:cNvPr>
            <p:cNvSpPr txBox="1"/>
            <p:nvPr/>
          </p:nvSpPr>
          <p:spPr>
            <a:xfrm>
              <a:off x="5472664" y="-1039453"/>
              <a:ext cx="1893968" cy="104644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91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U.S. Congress requested DOT to demonstrate an automated vehicle and highway system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BBD6F56-E590-2003-D9E5-892EB1663896}"/>
                </a:ext>
              </a:extLst>
            </p:cNvPr>
            <p:cNvSpPr txBox="1"/>
            <p:nvPr/>
          </p:nvSpPr>
          <p:spPr>
            <a:xfrm>
              <a:off x="6685967" y="3204628"/>
              <a:ext cx="1801489" cy="12311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04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Defense Advanced Research Projects Agency (DARPA) launched projects to test AVs in off-road terrai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8EA38C-0CDA-03A4-9143-FF688270DB24}"/>
                </a:ext>
              </a:extLst>
            </p:cNvPr>
            <p:cNvSpPr txBox="1"/>
            <p:nvPr/>
          </p:nvSpPr>
          <p:spPr>
            <a:xfrm>
              <a:off x="7416763" y="1438528"/>
              <a:ext cx="1776473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0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Google started its autonomous driving program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C552B3F-5F6D-5ACB-C7D6-56713293D33F}"/>
                </a:ext>
              </a:extLst>
            </p:cNvPr>
            <p:cNvSpPr txBox="1"/>
            <p:nvPr/>
          </p:nvSpPr>
          <p:spPr>
            <a:xfrm>
              <a:off x="8099995" y="4619190"/>
              <a:ext cx="1617904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11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First legislation in the United Stat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109D6AD-0A9D-E896-DAE0-736BA5EF3596}"/>
                </a:ext>
              </a:extLst>
            </p:cNvPr>
            <p:cNvSpPr txBox="1"/>
            <p:nvPr/>
          </p:nvSpPr>
          <p:spPr>
            <a:xfrm>
              <a:off x="9114328" y="111859"/>
              <a:ext cx="3065988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16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U.S. DOT announced the first AV plan; the first fatal crash involving a self-driving vehicle was reported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7592F64-6EC1-373C-238E-8FE3A2704FA9}"/>
                </a:ext>
              </a:extLst>
            </p:cNvPr>
            <p:cNvSpPr txBox="1"/>
            <p:nvPr/>
          </p:nvSpPr>
          <p:spPr>
            <a:xfrm>
              <a:off x="5784875" y="4614916"/>
              <a:ext cx="1581757" cy="861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8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First use of neural network in the autonomous driving industr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F973B20-3667-55A4-E1C5-045B499AC2A0}"/>
                </a:ext>
              </a:extLst>
            </p:cNvPr>
            <p:cNvGrpSpPr/>
            <p:nvPr/>
          </p:nvGrpSpPr>
          <p:grpSpPr>
            <a:xfrm>
              <a:off x="388515" y="1258056"/>
              <a:ext cx="1470713" cy="1362417"/>
              <a:chOff x="219265" y="1353967"/>
              <a:chExt cx="1470713" cy="1362417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FF7D558-597F-DA1B-5B8F-B59EDD0EDE4A}"/>
                  </a:ext>
                </a:extLst>
              </p:cNvPr>
              <p:cNvSpPr txBox="1"/>
              <p:nvPr/>
            </p:nvSpPr>
            <p:spPr>
              <a:xfrm>
                <a:off x="219265" y="1353967"/>
                <a:ext cx="1470713" cy="10464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00843D"/>
                    </a:solidFill>
                    <a:latin typeface="Trebuchet MS"/>
                    <a:ea typeface="ＭＳ Ｐゴシック" charset="0"/>
                  </a:rPr>
                  <a:t>1925</a:t>
                </a:r>
                <a:r>
                  <a:rPr lang="en-US" sz="900" b="1" dirty="0">
                    <a:solidFill>
                      <a:srgbClr val="00843D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|</a:t>
                </a:r>
                <a:r>
                  <a:rPr lang="en-US" sz="900" dirty="0">
                    <a:solidFill>
                      <a:srgbClr val="00843D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The first “automated vehicle” in the world—radio controlled</a:t>
                </a:r>
              </a:p>
            </p:txBody>
          </p: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3E7813D7-213B-AFD3-5AEE-EFF0E297D2AD}"/>
                  </a:ext>
                </a:extLst>
              </p:cNvPr>
              <p:cNvCxnSpPr/>
              <p:nvPr/>
            </p:nvCxnSpPr>
            <p:spPr>
              <a:xfrm>
                <a:off x="323101" y="2387620"/>
                <a:ext cx="1280160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8367BA9F-FC56-24D5-D25D-210384CD019E}"/>
                  </a:ext>
                </a:extLst>
              </p:cNvPr>
              <p:cNvCxnSpPr/>
              <p:nvPr/>
            </p:nvCxnSpPr>
            <p:spPr>
              <a:xfrm>
                <a:off x="671945" y="2387620"/>
                <a:ext cx="0" cy="328764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C4378A2-1994-E49E-B9AE-099A45F246A4}"/>
                </a:ext>
              </a:extLst>
            </p:cNvPr>
            <p:cNvGrpSpPr/>
            <p:nvPr/>
          </p:nvGrpSpPr>
          <p:grpSpPr>
            <a:xfrm>
              <a:off x="3322390" y="2243342"/>
              <a:ext cx="914400" cy="382294"/>
              <a:chOff x="2443819" y="2217132"/>
              <a:chExt cx="914400" cy="382294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8B7C2EEA-8051-EDE4-C58A-DBBC54951768}"/>
                  </a:ext>
                </a:extLst>
              </p:cNvPr>
              <p:cNvCxnSpPr/>
              <p:nvPr/>
            </p:nvCxnSpPr>
            <p:spPr>
              <a:xfrm>
                <a:off x="2443819" y="2217132"/>
                <a:ext cx="914400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782F31F9-F5F2-8875-7FF0-0FD96B122CAF}"/>
                  </a:ext>
                </a:extLst>
              </p:cNvPr>
              <p:cNvCxnSpPr>
                <a:cxnSpLocks/>
                <a:endCxn id="60" idx="0"/>
              </p:cNvCxnSpPr>
              <p:nvPr/>
            </p:nvCxnSpPr>
            <p:spPr>
              <a:xfrm flipH="1">
                <a:off x="2774806" y="2240871"/>
                <a:ext cx="4876" cy="358555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4B37F10-D785-1967-DCC2-E1B45ECBD726}"/>
                </a:ext>
              </a:extLst>
            </p:cNvPr>
            <p:cNvGrpSpPr/>
            <p:nvPr/>
          </p:nvGrpSpPr>
          <p:grpSpPr>
            <a:xfrm>
              <a:off x="5456049" y="6987"/>
              <a:ext cx="1732417" cy="2613487"/>
              <a:chOff x="-778960" y="159387"/>
              <a:chExt cx="1732417" cy="261348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DBCED63F-3C5C-6D39-4698-CBE42F9F5D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778960" y="159387"/>
                <a:ext cx="1732417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5079B9F1-06A2-E896-9F1C-EDD432281D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3383" y="159387"/>
                <a:ext cx="17421" cy="2613487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55179EE-291D-78C2-830D-0B3F764D62CA}"/>
                </a:ext>
              </a:extLst>
            </p:cNvPr>
            <p:cNvCxnSpPr>
              <a:cxnSpLocks/>
            </p:cNvCxnSpPr>
            <p:nvPr/>
          </p:nvCxnSpPr>
          <p:spPr>
            <a:xfrm>
              <a:off x="7691173" y="2115636"/>
              <a:ext cx="1275445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D4C7085-A624-126F-E47B-BC572EF6417A}"/>
                </a:ext>
              </a:extLst>
            </p:cNvPr>
            <p:cNvCxnSpPr>
              <a:cxnSpLocks/>
              <a:stCxn id="103" idx="4"/>
              <a:endCxn id="15" idx="0"/>
            </p:cNvCxnSpPr>
            <p:nvPr/>
          </p:nvCxnSpPr>
          <p:spPr>
            <a:xfrm>
              <a:off x="8908041" y="2750012"/>
              <a:ext cx="905" cy="1869177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316528C-1A91-544D-D47A-E39CC8B0BDA7}"/>
                </a:ext>
              </a:extLst>
            </p:cNvPr>
            <p:cNvGrpSpPr/>
            <p:nvPr/>
          </p:nvGrpSpPr>
          <p:grpSpPr>
            <a:xfrm>
              <a:off x="552776" y="2594263"/>
              <a:ext cx="11201822" cy="429897"/>
              <a:chOff x="297451" y="2594263"/>
              <a:chExt cx="11201822" cy="429897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8E2F5FF-FF4E-1062-4815-FAC76F6CFD8E}"/>
                  </a:ext>
                </a:extLst>
              </p:cNvPr>
              <p:cNvCxnSpPr/>
              <p:nvPr/>
            </p:nvCxnSpPr>
            <p:spPr>
              <a:xfrm>
                <a:off x="576072" y="2687782"/>
                <a:ext cx="10923201" cy="0"/>
              </a:xfrm>
              <a:prstGeom prst="line">
                <a:avLst/>
              </a:prstGeom>
              <a:ln w="12700" cmpd="sng">
                <a:solidFill>
                  <a:schemeClr val="accent4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8BFB39C-5EBA-9B02-3620-41B05C14AF8D}"/>
                  </a:ext>
                </a:extLst>
              </p:cNvPr>
              <p:cNvCxnSpPr/>
              <p:nvPr/>
            </p:nvCxnSpPr>
            <p:spPr>
              <a:xfrm>
                <a:off x="583000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B804E26-03A9-AC75-A1FF-CA03EE2BBDBF}"/>
                  </a:ext>
                </a:extLst>
              </p:cNvPr>
              <p:cNvCxnSpPr/>
              <p:nvPr/>
            </p:nvCxnSpPr>
            <p:spPr>
              <a:xfrm>
                <a:off x="1741723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1BA8AFB-4FFC-7004-01EC-486CE1187768}"/>
                  </a:ext>
                </a:extLst>
              </p:cNvPr>
              <p:cNvCxnSpPr/>
              <p:nvPr/>
            </p:nvCxnSpPr>
            <p:spPr>
              <a:xfrm>
                <a:off x="3008838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AA81D30-E9C4-8710-1A14-36CCE40606F5}"/>
                  </a:ext>
                </a:extLst>
              </p:cNvPr>
              <p:cNvCxnSpPr/>
              <p:nvPr/>
            </p:nvCxnSpPr>
            <p:spPr>
              <a:xfrm>
                <a:off x="4221757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745DB18-DEB4-27C7-19CC-85CB7F48E082}"/>
                  </a:ext>
                </a:extLst>
              </p:cNvPr>
              <p:cNvCxnSpPr/>
              <p:nvPr/>
            </p:nvCxnSpPr>
            <p:spPr>
              <a:xfrm>
                <a:off x="5434676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B1C485E-0DA3-08E4-039E-228B5EEF0794}"/>
                  </a:ext>
                </a:extLst>
              </p:cNvPr>
              <p:cNvCxnSpPr/>
              <p:nvPr/>
            </p:nvCxnSpPr>
            <p:spPr>
              <a:xfrm>
                <a:off x="6647595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D624762-3CB2-5931-D8E1-6497DC92ECCF}"/>
                  </a:ext>
                </a:extLst>
              </p:cNvPr>
              <p:cNvCxnSpPr/>
              <p:nvPr/>
            </p:nvCxnSpPr>
            <p:spPr>
              <a:xfrm>
                <a:off x="7860514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AB8ED0C-0F74-481D-A7E3-446F16B7F39A}"/>
                  </a:ext>
                </a:extLst>
              </p:cNvPr>
              <p:cNvCxnSpPr/>
              <p:nvPr/>
            </p:nvCxnSpPr>
            <p:spPr>
              <a:xfrm>
                <a:off x="9073433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C7DF641-13B2-98CF-5DA9-C2CE9452EBB7}"/>
                  </a:ext>
                </a:extLst>
              </p:cNvPr>
              <p:cNvCxnSpPr/>
              <p:nvPr/>
            </p:nvCxnSpPr>
            <p:spPr>
              <a:xfrm>
                <a:off x="10286352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334F218-3F28-951B-4CAB-C850FF5B6206}"/>
                  </a:ext>
                </a:extLst>
              </p:cNvPr>
              <p:cNvSpPr/>
              <p:nvPr/>
            </p:nvSpPr>
            <p:spPr>
              <a:xfrm>
                <a:off x="9953543" y="2632190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A0DE000-798A-9489-01F4-AD06F5F3417D}"/>
                  </a:ext>
                </a:extLst>
              </p:cNvPr>
              <p:cNvSpPr/>
              <p:nvPr/>
            </p:nvSpPr>
            <p:spPr>
              <a:xfrm>
                <a:off x="514419" y="2627513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156F81AA-55D8-54C7-201B-EB114011E3E6}"/>
                  </a:ext>
                </a:extLst>
              </p:cNvPr>
              <p:cNvSpPr txBox="1"/>
              <p:nvPr/>
            </p:nvSpPr>
            <p:spPr>
              <a:xfrm>
                <a:off x="297451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25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7A4F500-3F3B-FC29-8946-A205714AA4EC}"/>
                  </a:ext>
                </a:extLst>
              </p:cNvPr>
              <p:cNvSpPr txBox="1"/>
              <p:nvPr/>
            </p:nvSpPr>
            <p:spPr>
              <a:xfrm>
                <a:off x="7574966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05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2BABA0-EB9B-07CD-362A-E930EAD32B2C}"/>
                  </a:ext>
                </a:extLst>
              </p:cNvPr>
              <p:cNvSpPr txBox="1"/>
              <p:nvPr/>
            </p:nvSpPr>
            <p:spPr>
              <a:xfrm>
                <a:off x="1510370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35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59BDD338-2956-F1F3-8FF3-4FD07CA3C309}"/>
                  </a:ext>
                </a:extLst>
              </p:cNvPr>
              <p:cNvSpPr txBox="1"/>
              <p:nvPr/>
            </p:nvSpPr>
            <p:spPr>
              <a:xfrm>
                <a:off x="2723290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55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ADE0FD8-9C13-B9AA-73D2-A374EA9B2583}"/>
                  </a:ext>
                </a:extLst>
              </p:cNvPr>
              <p:cNvSpPr txBox="1"/>
              <p:nvPr/>
            </p:nvSpPr>
            <p:spPr>
              <a:xfrm>
                <a:off x="3936208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65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52FDC22A-9A5B-8664-31E4-6BB992692CD5}"/>
                  </a:ext>
                </a:extLst>
              </p:cNvPr>
              <p:cNvSpPr txBox="1"/>
              <p:nvPr/>
            </p:nvSpPr>
            <p:spPr>
              <a:xfrm>
                <a:off x="5149127" y="2716384"/>
                <a:ext cx="571096" cy="3077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85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B3EA4DB-4EE5-814A-8FB6-C0E64399B288}"/>
                  </a:ext>
                </a:extLst>
              </p:cNvPr>
              <p:cNvSpPr txBox="1"/>
              <p:nvPr/>
            </p:nvSpPr>
            <p:spPr>
              <a:xfrm>
                <a:off x="6362046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95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202E127-6ACA-EA8C-92D1-DA31E7DB0B27}"/>
                  </a:ext>
                </a:extLst>
              </p:cNvPr>
              <p:cNvSpPr txBox="1"/>
              <p:nvPr/>
            </p:nvSpPr>
            <p:spPr>
              <a:xfrm>
                <a:off x="8878725" y="2694215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15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1953E69-2AF9-A264-1EFE-A3F9D2B1CCB2}"/>
                  </a:ext>
                </a:extLst>
              </p:cNvPr>
              <p:cNvSpPr txBox="1"/>
              <p:nvPr/>
            </p:nvSpPr>
            <p:spPr>
              <a:xfrm>
                <a:off x="10000803" y="2716384"/>
                <a:ext cx="571096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25</a:t>
                </a: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402465EB-FC7C-FD71-1047-9507F17C2D5A}"/>
                  </a:ext>
                </a:extLst>
              </p:cNvPr>
              <p:cNvSpPr/>
              <p:nvPr/>
            </p:nvSpPr>
            <p:spPr>
              <a:xfrm>
                <a:off x="1929467" y="2625635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CEB0B393-8EDE-BF9E-D3C4-9F07B51F5860}"/>
                  </a:ext>
                </a:extLst>
              </p:cNvPr>
              <p:cNvSpPr/>
              <p:nvPr/>
            </p:nvSpPr>
            <p:spPr>
              <a:xfrm>
                <a:off x="3329471" y="2625635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4AFC3922-632B-3E16-A07D-32F4401A1F8E}"/>
                  </a:ext>
                </a:extLst>
              </p:cNvPr>
              <p:cNvSpPr/>
              <p:nvPr/>
            </p:nvSpPr>
            <p:spPr>
              <a:xfrm>
                <a:off x="3720816" y="2628791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86FBF8C-7E80-E20B-8DB8-1747BE3D93C6}"/>
                  </a:ext>
                </a:extLst>
              </p:cNvPr>
              <p:cNvSpPr/>
              <p:nvPr/>
            </p:nvSpPr>
            <p:spPr>
              <a:xfrm>
                <a:off x="5469687" y="2634532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2964FF9-7BF3-091B-9B3C-841F290EE96C}"/>
                  </a:ext>
                </a:extLst>
              </p:cNvPr>
              <p:cNvSpPr/>
              <p:nvPr/>
            </p:nvSpPr>
            <p:spPr>
              <a:xfrm>
                <a:off x="6243387" y="2627515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53E031C2-8B90-5C72-4207-E036D4F28881}"/>
                  </a:ext>
                </a:extLst>
              </p:cNvPr>
              <p:cNvSpPr/>
              <p:nvPr/>
            </p:nvSpPr>
            <p:spPr>
              <a:xfrm>
                <a:off x="7654673" y="2625296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919D1470-BA7C-EF80-727D-60F347890A22}"/>
                  </a:ext>
                </a:extLst>
              </p:cNvPr>
              <p:cNvSpPr/>
              <p:nvPr/>
            </p:nvSpPr>
            <p:spPr>
              <a:xfrm>
                <a:off x="9207645" y="2625296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B59C4A3-8BFE-649A-19A8-0A3A36E73769}"/>
                  </a:ext>
                </a:extLst>
              </p:cNvPr>
              <p:cNvSpPr/>
              <p:nvPr/>
            </p:nvSpPr>
            <p:spPr>
              <a:xfrm>
                <a:off x="8311297" y="2632315"/>
                <a:ext cx="137160" cy="130141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9336837-F313-8340-9C16-0F1F05428A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11596" y="776539"/>
              <a:ext cx="2736671" cy="12867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30D5505-5827-68E8-D5F9-73848239B0D6}"/>
                </a:ext>
              </a:extLst>
            </p:cNvPr>
            <p:cNvCxnSpPr>
              <a:cxnSpLocks/>
              <a:endCxn id="65" idx="0"/>
            </p:cNvCxnSpPr>
            <p:nvPr/>
          </p:nvCxnSpPr>
          <p:spPr>
            <a:xfrm flipH="1">
              <a:off x="9531551" y="789998"/>
              <a:ext cx="8119" cy="1835299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060A55C-B8D4-BA53-5EFA-C361296C20C9}"/>
                </a:ext>
              </a:extLst>
            </p:cNvPr>
            <p:cNvCxnSpPr/>
            <p:nvPr/>
          </p:nvCxnSpPr>
          <p:spPr>
            <a:xfrm>
              <a:off x="5962108" y="4614916"/>
              <a:ext cx="128016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AB8086F-A7BF-81B3-9F03-64329E3DF5E5}"/>
                </a:ext>
              </a:extLst>
            </p:cNvPr>
            <p:cNvCxnSpPr>
              <a:cxnSpLocks/>
            </p:cNvCxnSpPr>
            <p:nvPr/>
          </p:nvCxnSpPr>
          <p:spPr>
            <a:xfrm>
              <a:off x="8213259" y="4614482"/>
              <a:ext cx="1300891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336A318-5E74-380E-F235-9A07D4D48BED}"/>
                </a:ext>
              </a:extLst>
            </p:cNvPr>
            <p:cNvCxnSpPr/>
            <p:nvPr/>
          </p:nvCxnSpPr>
          <p:spPr>
            <a:xfrm>
              <a:off x="9855877" y="4614482"/>
              <a:ext cx="137160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8117D1-DE43-0189-ED79-FDB0F1B97DB9}"/>
                </a:ext>
              </a:extLst>
            </p:cNvPr>
            <p:cNvCxnSpPr/>
            <p:nvPr/>
          </p:nvCxnSpPr>
          <p:spPr>
            <a:xfrm>
              <a:off x="6834645" y="3204628"/>
              <a:ext cx="1529625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69A378F-51D1-D7E7-64DC-047D1912962E}"/>
                </a:ext>
              </a:extLst>
            </p:cNvPr>
            <p:cNvCxnSpPr/>
            <p:nvPr/>
          </p:nvCxnSpPr>
          <p:spPr>
            <a:xfrm>
              <a:off x="7972221" y="2986768"/>
              <a:ext cx="0" cy="217859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B73D74A-CB4B-FE91-9E7F-3292A5B5E593}"/>
                </a:ext>
              </a:extLst>
            </p:cNvPr>
            <p:cNvCxnSpPr>
              <a:cxnSpLocks/>
            </p:cNvCxnSpPr>
            <p:nvPr/>
          </p:nvCxnSpPr>
          <p:spPr>
            <a:xfrm>
              <a:off x="3322390" y="3235220"/>
              <a:ext cx="120422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05E443C-84CA-3156-388B-7465DF2D17FC}"/>
                </a:ext>
              </a:extLst>
            </p:cNvPr>
            <p:cNvCxnSpPr>
              <a:cxnSpLocks/>
              <a:stCxn id="61" idx="4"/>
            </p:cNvCxnSpPr>
            <p:nvPr/>
          </p:nvCxnSpPr>
          <p:spPr>
            <a:xfrm>
              <a:off x="4044722" y="2765951"/>
              <a:ext cx="0" cy="469269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D9D912D-F8B8-300D-1D57-326C81C8E911}"/>
                </a:ext>
              </a:extLst>
            </p:cNvPr>
            <p:cNvCxnSpPr/>
            <p:nvPr/>
          </p:nvCxnSpPr>
          <p:spPr>
            <a:xfrm>
              <a:off x="1979464" y="3160271"/>
              <a:ext cx="66924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39AC22F-EE72-8396-7FC2-409ECF2F2F85}"/>
                </a:ext>
              </a:extLst>
            </p:cNvPr>
            <p:cNvCxnSpPr>
              <a:cxnSpLocks/>
              <a:stCxn id="59" idx="4"/>
              <a:endCxn id="9" idx="0"/>
            </p:cNvCxnSpPr>
            <p:nvPr/>
          </p:nvCxnSpPr>
          <p:spPr>
            <a:xfrm>
              <a:off x="2253372" y="2762795"/>
              <a:ext cx="279" cy="390508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Oval 80">
            <a:extLst>
              <a:ext uri="{FF2B5EF4-FFF2-40B4-BE49-F238E27FC236}">
                <a16:creationId xmlns:a16="http://schemas.microsoft.com/office/drawing/2014/main" id="{28A873C4-5AAE-E6EF-4DBC-1C9CFB1DBB89}"/>
              </a:ext>
            </a:extLst>
          </p:cNvPr>
          <p:cNvSpPr/>
          <p:nvPr/>
        </p:nvSpPr>
        <p:spPr>
          <a:xfrm>
            <a:off x="4515005" y="3996082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AA9E429-2C2A-929F-3237-532D5500A1D4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4200695" y="3359891"/>
            <a:ext cx="3187" cy="632103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9F113DA-5B8B-0F6A-221E-FB4E5A6E79AC}"/>
              </a:ext>
            </a:extLst>
          </p:cNvPr>
          <p:cNvCxnSpPr>
            <a:cxnSpLocks/>
            <a:endCxn id="66" idx="0"/>
          </p:cNvCxnSpPr>
          <p:nvPr/>
        </p:nvCxnSpPr>
        <p:spPr>
          <a:xfrm>
            <a:off x="6335089" y="3619699"/>
            <a:ext cx="0" cy="370632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9F8FA4CC-6F08-D2E5-0AEB-A4B34C3DC4FE}"/>
              </a:ext>
            </a:extLst>
          </p:cNvPr>
          <p:cNvSpPr/>
          <p:nvPr/>
        </p:nvSpPr>
        <p:spPr>
          <a:xfrm>
            <a:off x="6488284" y="3980998"/>
            <a:ext cx="102870" cy="97606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CE89966A-1091-5DA3-AA29-66C29DE2F8D5}"/>
              </a:ext>
            </a:extLst>
          </p:cNvPr>
          <p:cNvSpPr/>
          <p:nvPr/>
        </p:nvSpPr>
        <p:spPr>
          <a:xfrm>
            <a:off x="6717150" y="3993017"/>
            <a:ext cx="102870" cy="9760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D4CF8E3-8485-A8C5-533B-37FF1DAA31AC}"/>
              </a:ext>
            </a:extLst>
          </p:cNvPr>
          <p:cNvSpPr txBox="1"/>
          <p:nvPr/>
        </p:nvSpPr>
        <p:spPr>
          <a:xfrm>
            <a:off x="6436046" y="4720506"/>
            <a:ext cx="11127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4 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esla Autopilot program kick-off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ECC06768-DD19-19BC-925E-D7AE331A3E6B}"/>
              </a:ext>
            </a:extLst>
          </p:cNvPr>
          <p:cNvCxnSpPr>
            <a:cxnSpLocks/>
            <a:stCxn id="110" idx="4"/>
          </p:cNvCxnSpPr>
          <p:nvPr/>
        </p:nvCxnSpPr>
        <p:spPr>
          <a:xfrm>
            <a:off x="6768585" y="4090623"/>
            <a:ext cx="2125" cy="577841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8C87AEC-0648-B0EE-EE81-16990B2E7547}"/>
              </a:ext>
            </a:extLst>
          </p:cNvPr>
          <p:cNvCxnSpPr>
            <a:cxnSpLocks/>
          </p:cNvCxnSpPr>
          <p:nvPr/>
        </p:nvCxnSpPr>
        <p:spPr>
          <a:xfrm>
            <a:off x="6591154" y="4683566"/>
            <a:ext cx="748517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478D36EA-9D68-E3EA-8C0F-27984D3A0E05}"/>
              </a:ext>
            </a:extLst>
          </p:cNvPr>
          <p:cNvCxnSpPr>
            <a:cxnSpLocks/>
            <a:endCxn id="110" idx="0"/>
          </p:cNvCxnSpPr>
          <p:nvPr/>
        </p:nvCxnSpPr>
        <p:spPr>
          <a:xfrm>
            <a:off x="6755013" y="1940998"/>
            <a:ext cx="13572" cy="2052019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A4F799B0-48B2-95AE-57DB-CD8B48B5F028}"/>
              </a:ext>
            </a:extLst>
          </p:cNvPr>
          <p:cNvSpPr txBox="1"/>
          <p:nvPr/>
        </p:nvSpPr>
        <p:spPr>
          <a:xfrm>
            <a:off x="6159729" y="1302798"/>
            <a:ext cx="1186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4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SAE announced six levels of vehicle automation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823ECFD9-DA0C-F1F3-B2AC-B3F2A0745243}"/>
              </a:ext>
            </a:extLst>
          </p:cNvPr>
          <p:cNvCxnSpPr>
            <a:cxnSpLocks/>
          </p:cNvCxnSpPr>
          <p:nvPr/>
        </p:nvCxnSpPr>
        <p:spPr>
          <a:xfrm>
            <a:off x="6257858" y="1940998"/>
            <a:ext cx="960120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16A15CE9-3DA9-5CE4-2A03-53ADC433F7BA}"/>
              </a:ext>
            </a:extLst>
          </p:cNvPr>
          <p:cNvSpPr/>
          <p:nvPr/>
        </p:nvSpPr>
        <p:spPr>
          <a:xfrm>
            <a:off x="5270337" y="3981759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E96ED68-691C-D721-54A2-35B1429E3643}"/>
              </a:ext>
            </a:extLst>
          </p:cNvPr>
          <p:cNvCxnSpPr>
            <a:cxnSpLocks/>
          </p:cNvCxnSpPr>
          <p:nvPr/>
        </p:nvCxnSpPr>
        <p:spPr>
          <a:xfrm flipH="1">
            <a:off x="5323899" y="2905119"/>
            <a:ext cx="3493" cy="1069143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849CBF7E-EDEE-E89B-D5EE-43A77A7D8C53}"/>
              </a:ext>
            </a:extLst>
          </p:cNvPr>
          <p:cNvCxnSpPr>
            <a:cxnSpLocks/>
          </p:cNvCxnSpPr>
          <p:nvPr/>
        </p:nvCxnSpPr>
        <p:spPr>
          <a:xfrm>
            <a:off x="4982889" y="2901666"/>
            <a:ext cx="911167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CE8D0704-C66C-87E1-D6C0-C1F1B92B5C0C}"/>
              </a:ext>
            </a:extLst>
          </p:cNvPr>
          <p:cNvSpPr txBox="1"/>
          <p:nvPr/>
        </p:nvSpPr>
        <p:spPr>
          <a:xfrm>
            <a:off x="4861900" y="2258787"/>
            <a:ext cx="1094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1998 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oyota became the first to commercialize ACC system 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BDB4538C-3B6A-E320-38C9-418343A323BB}"/>
              </a:ext>
            </a:extLst>
          </p:cNvPr>
          <p:cNvSpPr/>
          <p:nvPr/>
        </p:nvSpPr>
        <p:spPr>
          <a:xfrm>
            <a:off x="7159954" y="3984465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93D7AE91-3603-833B-CDCD-1F767B04B0C7}"/>
              </a:ext>
            </a:extLst>
          </p:cNvPr>
          <p:cNvCxnSpPr>
            <a:cxnSpLocks/>
          </p:cNvCxnSpPr>
          <p:nvPr/>
        </p:nvCxnSpPr>
        <p:spPr>
          <a:xfrm>
            <a:off x="7058786" y="3272940"/>
            <a:ext cx="1155983" cy="5471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5A32C529-9832-D3B6-E7CB-F53FE84A9D44}"/>
              </a:ext>
            </a:extLst>
          </p:cNvPr>
          <p:cNvCxnSpPr>
            <a:cxnSpLocks/>
            <a:endCxn id="147" idx="0"/>
          </p:cNvCxnSpPr>
          <p:nvPr/>
        </p:nvCxnSpPr>
        <p:spPr>
          <a:xfrm flipH="1">
            <a:off x="7211389" y="3293372"/>
            <a:ext cx="740" cy="691093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9AE318FF-AB3F-DE12-11EA-6D42A0AC2A97}"/>
              </a:ext>
            </a:extLst>
          </p:cNvPr>
          <p:cNvSpPr txBox="1"/>
          <p:nvPr/>
        </p:nvSpPr>
        <p:spPr>
          <a:xfrm>
            <a:off x="6993305" y="2765194"/>
            <a:ext cx="13787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8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Waymo launched the first commercial </a:t>
            </a:r>
            <a:r>
              <a:rPr lang="en-US" sz="900" dirty="0" err="1">
                <a:solidFill>
                  <a:srgbClr val="53565A"/>
                </a:solidFill>
                <a:latin typeface="Trebuchet MS"/>
                <a:ea typeface="ＭＳ Ｐゴシック" charset="0"/>
              </a:rPr>
              <a:t>Robotaxi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 in the world</a:t>
            </a: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169ECF87-B6D3-E3BA-0371-DC40813185D6}"/>
              </a:ext>
            </a:extLst>
          </p:cNvPr>
          <p:cNvSpPr/>
          <p:nvPr/>
        </p:nvSpPr>
        <p:spPr>
          <a:xfrm>
            <a:off x="7331765" y="3988496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06334C82-5838-619F-B029-8AE304447A74}"/>
              </a:ext>
            </a:extLst>
          </p:cNvPr>
          <p:cNvCxnSpPr>
            <a:cxnSpLocks/>
          </p:cNvCxnSpPr>
          <p:nvPr/>
        </p:nvCxnSpPr>
        <p:spPr>
          <a:xfrm>
            <a:off x="7383200" y="3718467"/>
            <a:ext cx="0" cy="269221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BCD48A0-E2D1-EA73-BB99-70448058E588}"/>
              </a:ext>
            </a:extLst>
          </p:cNvPr>
          <p:cNvCxnSpPr>
            <a:cxnSpLocks/>
          </p:cNvCxnSpPr>
          <p:nvPr/>
        </p:nvCxnSpPr>
        <p:spPr>
          <a:xfrm>
            <a:off x="7266921" y="3710085"/>
            <a:ext cx="1159679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874EB29C-3CD9-0864-2D34-CD0C575A6A79}"/>
              </a:ext>
            </a:extLst>
          </p:cNvPr>
          <p:cNvSpPr txBox="1"/>
          <p:nvPr/>
        </p:nvSpPr>
        <p:spPr>
          <a:xfrm>
            <a:off x="7159954" y="3345524"/>
            <a:ext cx="1378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20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esla launched FSD program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33C1170C-7605-F03A-42AB-A0BD682E98EF}"/>
              </a:ext>
            </a:extLst>
          </p:cNvPr>
          <p:cNvSpPr txBox="1"/>
          <p:nvPr/>
        </p:nvSpPr>
        <p:spPr>
          <a:xfrm>
            <a:off x="7137548" y="5493642"/>
            <a:ext cx="1213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21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Level 3 start commercialization</a:t>
            </a:r>
          </a:p>
        </p:txBody>
      </p:sp>
      <p:pic>
        <p:nvPicPr>
          <p:cNvPr id="175" name="Picture 174">
            <a:extLst>
              <a:ext uri="{FF2B5EF4-FFF2-40B4-BE49-F238E27FC236}">
                <a16:creationId xmlns:a16="http://schemas.microsoft.com/office/drawing/2014/main" id="{46930520-A852-4A21-B394-B5E0FAC5E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185" y="1165505"/>
            <a:ext cx="2888460" cy="1619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087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9F113DA-5B8B-0F6A-221E-FB4E5A6E79AC}"/>
              </a:ext>
            </a:extLst>
          </p:cNvPr>
          <p:cNvCxnSpPr>
            <a:cxnSpLocks/>
            <a:stCxn id="14" idx="2"/>
            <a:endCxn id="66" idx="0"/>
          </p:cNvCxnSpPr>
          <p:nvPr/>
        </p:nvCxnSpPr>
        <p:spPr>
          <a:xfrm flipH="1">
            <a:off x="5913396" y="2801272"/>
            <a:ext cx="2296" cy="874176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AA9E429-2C2A-929F-3237-532D5500A1D4}"/>
              </a:ext>
            </a:extLst>
          </p:cNvPr>
          <p:cNvCxnSpPr>
            <a:cxnSpLocks/>
          </p:cNvCxnSpPr>
          <p:nvPr/>
        </p:nvCxnSpPr>
        <p:spPr>
          <a:xfrm>
            <a:off x="3931478" y="3051250"/>
            <a:ext cx="3187" cy="632103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BAADACB0-BB6B-FB92-666A-5EA3C8A58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1" y="274638"/>
            <a:ext cx="4228084" cy="493458"/>
          </a:xfrm>
        </p:spPr>
        <p:txBody>
          <a:bodyPr/>
          <a:lstStyle/>
          <a:p>
            <a:r>
              <a:rPr lang="en-US" dirty="0"/>
              <a:t>History of Automated Vehic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1D9C8A6-A67A-DA80-B824-0A6683743559}"/>
              </a:ext>
            </a:extLst>
          </p:cNvPr>
          <p:cNvGrpSpPr/>
          <p:nvPr/>
        </p:nvGrpSpPr>
        <p:grpSpPr>
          <a:xfrm>
            <a:off x="128337" y="1101466"/>
            <a:ext cx="8887326" cy="4451793"/>
            <a:chOff x="301798" y="-817220"/>
            <a:chExt cx="11849768" cy="593572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FADD30CE-3880-FC24-0D10-B21D018E4BFA}"/>
                </a:ext>
              </a:extLst>
            </p:cNvPr>
            <p:cNvCxnSpPr>
              <a:cxnSpLocks/>
              <a:stCxn id="47" idx="4"/>
            </p:cNvCxnSpPr>
            <p:nvPr/>
          </p:nvCxnSpPr>
          <p:spPr>
            <a:xfrm flipH="1">
              <a:off x="10268626" y="2769350"/>
              <a:ext cx="8821" cy="2339963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3413FA8-9FC7-E868-88A4-4F8A8696A5CC}"/>
                </a:ext>
              </a:extLst>
            </p:cNvPr>
            <p:cNvSpPr txBox="1"/>
            <p:nvPr/>
          </p:nvSpPr>
          <p:spPr>
            <a:xfrm>
              <a:off x="3710936" y="1313730"/>
              <a:ext cx="2799196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87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Self-driving with dynamic object detection (Germany) 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1276BB5-1AFB-6C70-4B40-9ED31854EF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37164" y="1777082"/>
              <a:ext cx="2447709" cy="4976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E407BF7-7237-428C-9C38-01898D7882A2}"/>
                </a:ext>
              </a:extLst>
            </p:cNvPr>
            <p:cNvSpPr txBox="1"/>
            <p:nvPr/>
          </p:nvSpPr>
          <p:spPr>
            <a:xfrm>
              <a:off x="1353646" y="3123688"/>
              <a:ext cx="1654643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3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autonomous magnetized freeway concept (U.S.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8B2AAAF-DD31-38AC-C077-D3576E97EC65}"/>
                </a:ext>
              </a:extLst>
            </p:cNvPr>
            <p:cNvSpPr txBox="1"/>
            <p:nvPr/>
          </p:nvSpPr>
          <p:spPr>
            <a:xfrm>
              <a:off x="1967305" y="1333946"/>
              <a:ext cx="1755801" cy="861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61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Stanford cart with sensors built to drive autonomously on the moon (U.S.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15E5275-16AD-4916-9763-82833DF7D224}"/>
                </a:ext>
              </a:extLst>
            </p:cNvPr>
            <p:cNvSpPr txBox="1"/>
            <p:nvPr/>
          </p:nvSpPr>
          <p:spPr>
            <a:xfrm>
              <a:off x="3303166" y="3222003"/>
              <a:ext cx="1646519" cy="104644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77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Self-driving vehicle with two cameras recognizing street markings (Japan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6BCDBFB-6908-3D18-8618-AAB2F7BA9B06}"/>
                </a:ext>
              </a:extLst>
            </p:cNvPr>
            <p:cNvSpPr txBox="1"/>
            <p:nvPr/>
          </p:nvSpPr>
          <p:spPr>
            <a:xfrm>
              <a:off x="5339244" y="-817220"/>
              <a:ext cx="2218509" cy="861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95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CMU’s NavLab5 steered autonomously 98% of the time with throttle and brake control (U.S.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BBD6F56-E590-2003-D9E5-892EB1663896}"/>
                </a:ext>
              </a:extLst>
            </p:cNvPr>
            <p:cNvSpPr txBox="1"/>
            <p:nvPr/>
          </p:nvSpPr>
          <p:spPr>
            <a:xfrm>
              <a:off x="6215816" y="3038156"/>
              <a:ext cx="2471563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04-2007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DARPA Grand Challenge kicks AV development into high gear (U.S.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8EA38C-0CDA-03A4-9143-FF688270DB24}"/>
                </a:ext>
              </a:extLst>
            </p:cNvPr>
            <p:cNvSpPr txBox="1"/>
            <p:nvPr/>
          </p:nvSpPr>
          <p:spPr>
            <a:xfrm>
              <a:off x="6787650" y="772080"/>
              <a:ext cx="2461241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0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Google (Waymo) started its commercial autonomous driving program (U.S.)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109D6AD-0A9D-E896-DAE0-736BA5EF3596}"/>
                </a:ext>
              </a:extLst>
            </p:cNvPr>
            <p:cNvSpPr txBox="1"/>
            <p:nvPr/>
          </p:nvSpPr>
          <p:spPr>
            <a:xfrm>
              <a:off x="9085578" y="316092"/>
              <a:ext cx="3065988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2016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The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first fatal crash involving a self-driving vehicle was reported (U.S.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7592F64-6EC1-373C-238E-8FE3A2704FA9}"/>
                </a:ext>
              </a:extLst>
            </p:cNvPr>
            <p:cNvSpPr txBox="1"/>
            <p:nvPr/>
          </p:nvSpPr>
          <p:spPr>
            <a:xfrm>
              <a:off x="4800728" y="3924093"/>
              <a:ext cx="1813127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843D"/>
                  </a:solidFill>
                  <a:latin typeface="Arial" charset="0"/>
                  <a:ea typeface="ＭＳ Ｐゴシック" charset="0"/>
                </a:rPr>
                <a:t>1989</a:t>
              </a:r>
              <a:r>
                <a:rPr lang="en-US" sz="900" b="1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|</a:t>
              </a:r>
              <a:r>
                <a:rPr lang="en-US" sz="900" dirty="0">
                  <a:solidFill>
                    <a:srgbClr val="00843D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 </a:t>
              </a:r>
              <a:r>
                <a:rPr lang="en-US" sz="900" dirty="0">
                  <a:solidFill>
                    <a:srgbClr val="53565A"/>
                  </a:solidFill>
                  <a:latin typeface="Trebuchet MS"/>
                  <a:ea typeface="ＭＳ Ｐゴシック" charset="0"/>
                </a:rPr>
                <a:t>Neural network first time used in the AV industry (U.S.)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F973B20-3667-55A4-E1C5-045B499AC2A0}"/>
                </a:ext>
              </a:extLst>
            </p:cNvPr>
            <p:cNvGrpSpPr/>
            <p:nvPr/>
          </p:nvGrpSpPr>
          <p:grpSpPr>
            <a:xfrm>
              <a:off x="301798" y="1640507"/>
              <a:ext cx="1470713" cy="979966"/>
              <a:chOff x="132548" y="1736418"/>
              <a:chExt cx="1470713" cy="979966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FF7D558-597F-DA1B-5B8F-B59EDD0EDE4A}"/>
                  </a:ext>
                </a:extLst>
              </p:cNvPr>
              <p:cNvSpPr txBox="1"/>
              <p:nvPr/>
            </p:nvSpPr>
            <p:spPr>
              <a:xfrm>
                <a:off x="132548" y="1736418"/>
                <a:ext cx="1470713" cy="677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00843D"/>
                    </a:solidFill>
                    <a:latin typeface="Trebuchet MS"/>
                    <a:ea typeface="ＭＳ Ｐゴシック" charset="0"/>
                  </a:rPr>
                  <a:t>1925</a:t>
                </a:r>
                <a:r>
                  <a:rPr lang="en-US" sz="900" b="1" dirty="0">
                    <a:solidFill>
                      <a:srgbClr val="00843D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|</a:t>
                </a:r>
                <a:r>
                  <a:rPr lang="en-US" sz="900" dirty="0">
                    <a:solidFill>
                      <a:srgbClr val="00843D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en-US" sz="900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The first radio-controlled car (U.S.)</a:t>
                </a:r>
              </a:p>
            </p:txBody>
          </p: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3E7813D7-213B-AFD3-5AEE-EFF0E297D2AD}"/>
                  </a:ext>
                </a:extLst>
              </p:cNvPr>
              <p:cNvCxnSpPr/>
              <p:nvPr/>
            </p:nvCxnSpPr>
            <p:spPr>
              <a:xfrm>
                <a:off x="323101" y="2387620"/>
                <a:ext cx="1280160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8367BA9F-FC56-24D5-D25D-210384CD019E}"/>
                  </a:ext>
                </a:extLst>
              </p:cNvPr>
              <p:cNvCxnSpPr/>
              <p:nvPr/>
            </p:nvCxnSpPr>
            <p:spPr>
              <a:xfrm>
                <a:off x="671945" y="2387620"/>
                <a:ext cx="0" cy="328764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C4378A2-1994-E49E-B9AE-099A45F246A4}"/>
                </a:ext>
              </a:extLst>
            </p:cNvPr>
            <p:cNvGrpSpPr/>
            <p:nvPr/>
          </p:nvGrpSpPr>
          <p:grpSpPr>
            <a:xfrm>
              <a:off x="1967305" y="2211124"/>
              <a:ext cx="1572789" cy="382954"/>
              <a:chOff x="1088734" y="2184914"/>
              <a:chExt cx="1572789" cy="382954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8B7C2EEA-8051-EDE4-C58A-DBBC549517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8734" y="2184914"/>
                <a:ext cx="1572789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782F31F9-F5F2-8875-7FF0-0FD96B122C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0083" y="2209313"/>
                <a:ext cx="4876" cy="358555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4B37F10-D785-1967-DCC2-E1B45ECBD726}"/>
                </a:ext>
              </a:extLst>
            </p:cNvPr>
            <p:cNvGrpSpPr/>
            <p:nvPr/>
          </p:nvGrpSpPr>
          <p:grpSpPr>
            <a:xfrm>
              <a:off x="5456049" y="2726"/>
              <a:ext cx="1732417" cy="2613487"/>
              <a:chOff x="-778960" y="155126"/>
              <a:chExt cx="1732417" cy="261348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DBCED63F-3C5C-6D39-4698-CBE42F9F5D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778960" y="159387"/>
                <a:ext cx="1732417" cy="0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5079B9F1-06A2-E896-9F1C-EDD432281DD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3458" y="155126"/>
                <a:ext cx="17421" cy="2613487"/>
              </a:xfrm>
              <a:prstGeom prst="line">
                <a:avLst/>
              </a:prstGeom>
              <a:ln w="25400" cap="sq">
                <a:solidFill>
                  <a:schemeClr val="accent6">
                    <a:lumMod val="40000"/>
                    <a:lumOff val="60000"/>
                  </a:scheme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55179EE-291D-78C2-830D-0B3F764D62CA}"/>
                </a:ext>
              </a:extLst>
            </p:cNvPr>
            <p:cNvCxnSpPr>
              <a:cxnSpLocks/>
            </p:cNvCxnSpPr>
            <p:nvPr/>
          </p:nvCxnSpPr>
          <p:spPr>
            <a:xfrm>
              <a:off x="6943660" y="1449188"/>
              <a:ext cx="209322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D4C7085-A624-126F-E47B-BC572EF6417A}"/>
                </a:ext>
              </a:extLst>
            </p:cNvPr>
            <p:cNvCxnSpPr>
              <a:cxnSpLocks/>
              <a:stCxn id="130" idx="4"/>
            </p:cNvCxnSpPr>
            <p:nvPr/>
          </p:nvCxnSpPr>
          <p:spPr>
            <a:xfrm flipH="1">
              <a:off x="9133703" y="2754983"/>
              <a:ext cx="6720" cy="89474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316528C-1A91-544D-D47A-E39CC8B0BDA7}"/>
                </a:ext>
              </a:extLst>
            </p:cNvPr>
            <p:cNvGrpSpPr/>
            <p:nvPr/>
          </p:nvGrpSpPr>
          <p:grpSpPr>
            <a:xfrm>
              <a:off x="535677" y="2594263"/>
              <a:ext cx="11218921" cy="439485"/>
              <a:chOff x="280352" y="2594263"/>
              <a:chExt cx="11218921" cy="439485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8E2F5FF-FF4E-1062-4815-FAC76F6CFD8E}"/>
                  </a:ext>
                </a:extLst>
              </p:cNvPr>
              <p:cNvCxnSpPr/>
              <p:nvPr/>
            </p:nvCxnSpPr>
            <p:spPr>
              <a:xfrm>
                <a:off x="576072" y="2687782"/>
                <a:ext cx="10923201" cy="0"/>
              </a:xfrm>
              <a:prstGeom prst="line">
                <a:avLst/>
              </a:prstGeom>
              <a:ln w="12700" cmpd="sng">
                <a:solidFill>
                  <a:schemeClr val="accent4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8BFB39C-5EBA-9B02-3620-41B05C14AF8D}"/>
                  </a:ext>
                </a:extLst>
              </p:cNvPr>
              <p:cNvCxnSpPr/>
              <p:nvPr/>
            </p:nvCxnSpPr>
            <p:spPr>
              <a:xfrm>
                <a:off x="583000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B804E26-03A9-AC75-A1FF-CA03EE2BBDBF}"/>
                  </a:ext>
                </a:extLst>
              </p:cNvPr>
              <p:cNvCxnSpPr/>
              <p:nvPr/>
            </p:nvCxnSpPr>
            <p:spPr>
              <a:xfrm>
                <a:off x="1741723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1BA8AFB-4FFC-7004-01EC-486CE1187768}"/>
                  </a:ext>
                </a:extLst>
              </p:cNvPr>
              <p:cNvCxnSpPr/>
              <p:nvPr/>
            </p:nvCxnSpPr>
            <p:spPr>
              <a:xfrm>
                <a:off x="3008838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AA81D30-E9C4-8710-1A14-36CCE40606F5}"/>
                  </a:ext>
                </a:extLst>
              </p:cNvPr>
              <p:cNvCxnSpPr/>
              <p:nvPr/>
            </p:nvCxnSpPr>
            <p:spPr>
              <a:xfrm>
                <a:off x="4221757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745DB18-DEB4-27C7-19CC-85CB7F48E082}"/>
                  </a:ext>
                </a:extLst>
              </p:cNvPr>
              <p:cNvCxnSpPr/>
              <p:nvPr/>
            </p:nvCxnSpPr>
            <p:spPr>
              <a:xfrm>
                <a:off x="5434676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B1C485E-0DA3-08E4-039E-228B5EEF0794}"/>
                  </a:ext>
                </a:extLst>
              </p:cNvPr>
              <p:cNvCxnSpPr/>
              <p:nvPr/>
            </p:nvCxnSpPr>
            <p:spPr>
              <a:xfrm>
                <a:off x="6647595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D624762-3CB2-5931-D8E1-6497DC92ECCF}"/>
                  </a:ext>
                </a:extLst>
              </p:cNvPr>
              <p:cNvCxnSpPr/>
              <p:nvPr/>
            </p:nvCxnSpPr>
            <p:spPr>
              <a:xfrm>
                <a:off x="7860514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AB8ED0C-0F74-481D-A7E3-446F16B7F39A}"/>
                  </a:ext>
                </a:extLst>
              </p:cNvPr>
              <p:cNvCxnSpPr/>
              <p:nvPr/>
            </p:nvCxnSpPr>
            <p:spPr>
              <a:xfrm>
                <a:off x="9073433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C7DF641-13B2-98CF-5DA9-C2CE9452EBB7}"/>
                  </a:ext>
                </a:extLst>
              </p:cNvPr>
              <p:cNvCxnSpPr/>
              <p:nvPr/>
            </p:nvCxnSpPr>
            <p:spPr>
              <a:xfrm>
                <a:off x="10286352" y="2594263"/>
                <a:ext cx="0" cy="91440"/>
              </a:xfrm>
              <a:prstGeom prst="line">
                <a:avLst/>
              </a:prstGeom>
              <a:ln w="12700" cmpd="sng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334F218-3F28-951B-4CAB-C850FF5B6206}"/>
                  </a:ext>
                </a:extLst>
              </p:cNvPr>
              <p:cNvSpPr/>
              <p:nvPr/>
            </p:nvSpPr>
            <p:spPr>
              <a:xfrm>
                <a:off x="9953543" y="2632190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5A0DE000-798A-9489-01F4-AD06F5F3417D}"/>
                  </a:ext>
                </a:extLst>
              </p:cNvPr>
              <p:cNvSpPr/>
              <p:nvPr/>
            </p:nvSpPr>
            <p:spPr>
              <a:xfrm>
                <a:off x="514419" y="2627513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156F81AA-55D8-54C7-201B-EB114011E3E6}"/>
                  </a:ext>
                </a:extLst>
              </p:cNvPr>
              <p:cNvSpPr txBox="1"/>
              <p:nvPr/>
            </p:nvSpPr>
            <p:spPr>
              <a:xfrm>
                <a:off x="280352" y="2716384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25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7A4F500-3F3B-FC29-8946-A205714AA4EC}"/>
                  </a:ext>
                </a:extLst>
              </p:cNvPr>
              <p:cNvSpPr txBox="1"/>
              <p:nvPr/>
            </p:nvSpPr>
            <p:spPr>
              <a:xfrm>
                <a:off x="7557868" y="2716384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10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82BABA0-EB9B-07CD-362A-E930EAD32B2C}"/>
                  </a:ext>
                </a:extLst>
              </p:cNvPr>
              <p:cNvSpPr txBox="1"/>
              <p:nvPr/>
            </p:nvSpPr>
            <p:spPr>
              <a:xfrm>
                <a:off x="1563120" y="2725972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40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59BDD338-2956-F1F3-8FF3-4FD07CA3C309}"/>
                  </a:ext>
                </a:extLst>
              </p:cNvPr>
              <p:cNvSpPr txBox="1"/>
              <p:nvPr/>
            </p:nvSpPr>
            <p:spPr>
              <a:xfrm>
                <a:off x="2706192" y="2716384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60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ADE0FD8-9C13-B9AA-73D2-A374EA9B2583}"/>
                  </a:ext>
                </a:extLst>
              </p:cNvPr>
              <p:cNvSpPr txBox="1"/>
              <p:nvPr/>
            </p:nvSpPr>
            <p:spPr>
              <a:xfrm>
                <a:off x="3918955" y="2716384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80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52FDC22A-9A5B-8664-31E4-6BB992692CD5}"/>
                  </a:ext>
                </a:extLst>
              </p:cNvPr>
              <p:cNvSpPr txBox="1"/>
              <p:nvPr/>
            </p:nvSpPr>
            <p:spPr>
              <a:xfrm>
                <a:off x="5234199" y="2706003"/>
                <a:ext cx="605295" cy="3077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1990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B3EA4DB-4EE5-814A-8FB6-C0E64399B288}"/>
                  </a:ext>
                </a:extLst>
              </p:cNvPr>
              <p:cNvSpPr txBox="1"/>
              <p:nvPr/>
            </p:nvSpPr>
            <p:spPr>
              <a:xfrm>
                <a:off x="6344948" y="2716384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00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202E127-6ACA-EA8C-92D1-DA31E7DB0B27}"/>
                  </a:ext>
                </a:extLst>
              </p:cNvPr>
              <p:cNvSpPr txBox="1"/>
              <p:nvPr/>
            </p:nvSpPr>
            <p:spPr>
              <a:xfrm>
                <a:off x="8757732" y="2681535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15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1953E69-2AF9-A264-1EFE-A3F9D2B1CCB2}"/>
                  </a:ext>
                </a:extLst>
              </p:cNvPr>
              <p:cNvSpPr txBox="1"/>
              <p:nvPr/>
            </p:nvSpPr>
            <p:spPr>
              <a:xfrm>
                <a:off x="10167254" y="2646948"/>
                <a:ext cx="605295" cy="3077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900" b="1" dirty="0">
                    <a:solidFill>
                      <a:srgbClr val="53565A"/>
                    </a:solidFill>
                    <a:latin typeface="Trebuchet MS"/>
                    <a:ea typeface="ＭＳ Ｐゴシック" charset="0"/>
                  </a:rPr>
                  <a:t>2025</a:t>
                </a: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402465EB-FC7C-FD71-1047-9507F17C2D5A}"/>
                  </a:ext>
                </a:extLst>
              </p:cNvPr>
              <p:cNvSpPr/>
              <p:nvPr/>
            </p:nvSpPr>
            <p:spPr>
              <a:xfrm>
                <a:off x="1595367" y="2616362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 dirty="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4AFC3922-632B-3E16-A07D-32F4401A1F8E}"/>
                  </a:ext>
                </a:extLst>
              </p:cNvPr>
              <p:cNvSpPr/>
              <p:nvPr/>
            </p:nvSpPr>
            <p:spPr>
              <a:xfrm>
                <a:off x="3014772" y="2612852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2964FF9-7BF3-091B-9B3C-841F290EE96C}"/>
                  </a:ext>
                </a:extLst>
              </p:cNvPr>
              <p:cNvSpPr/>
              <p:nvPr/>
            </p:nvSpPr>
            <p:spPr>
              <a:xfrm>
                <a:off x="6087924" y="2617252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53E031C2-8B90-5C72-4207-E036D4F28881}"/>
                  </a:ext>
                </a:extLst>
              </p:cNvPr>
              <p:cNvSpPr/>
              <p:nvPr/>
            </p:nvSpPr>
            <p:spPr>
              <a:xfrm>
                <a:off x="7170823" y="2614756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BB59C4A3-8BFE-649A-19A8-0A3A36E73769}"/>
                  </a:ext>
                </a:extLst>
              </p:cNvPr>
              <p:cNvSpPr/>
              <p:nvPr/>
            </p:nvSpPr>
            <p:spPr>
              <a:xfrm>
                <a:off x="7691304" y="2614756"/>
                <a:ext cx="137160" cy="130141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919D1470-BA7C-EF80-727D-60F347890A22}"/>
                  </a:ext>
                </a:extLst>
              </p:cNvPr>
              <p:cNvSpPr/>
              <p:nvPr/>
            </p:nvSpPr>
            <p:spPr>
              <a:xfrm>
                <a:off x="9207645" y="2625296"/>
                <a:ext cx="137160" cy="13716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prstClr val="white"/>
                  </a:solidFill>
                  <a:latin typeface="Trebuchet MS"/>
                </a:endParaRPr>
              </a:p>
            </p:txBody>
          </p: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9336837-F313-8340-9C16-0F1F05428A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11596" y="776539"/>
              <a:ext cx="2736671" cy="12867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30D5505-5827-68E8-D5F9-73848239B0D6}"/>
                </a:ext>
              </a:extLst>
            </p:cNvPr>
            <p:cNvCxnSpPr>
              <a:cxnSpLocks/>
              <a:endCxn id="65" idx="0"/>
            </p:cNvCxnSpPr>
            <p:nvPr/>
          </p:nvCxnSpPr>
          <p:spPr>
            <a:xfrm flipH="1">
              <a:off x="9531551" y="789998"/>
              <a:ext cx="8119" cy="1835299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060A55C-B8D4-BA53-5EFA-C361296C20C9}"/>
                </a:ext>
              </a:extLst>
            </p:cNvPr>
            <p:cNvCxnSpPr>
              <a:cxnSpLocks/>
            </p:cNvCxnSpPr>
            <p:nvPr/>
          </p:nvCxnSpPr>
          <p:spPr>
            <a:xfrm>
              <a:off x="5004714" y="3943855"/>
              <a:ext cx="1493999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AB8086F-A7BF-81B3-9F03-64329E3DF5E5}"/>
                </a:ext>
              </a:extLst>
            </p:cNvPr>
            <p:cNvCxnSpPr>
              <a:cxnSpLocks/>
            </p:cNvCxnSpPr>
            <p:nvPr/>
          </p:nvCxnSpPr>
          <p:spPr>
            <a:xfrm>
              <a:off x="8263798" y="3649723"/>
              <a:ext cx="1739811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336A318-5E74-380E-F235-9A07D4D48BED}"/>
                </a:ext>
              </a:extLst>
            </p:cNvPr>
            <p:cNvCxnSpPr/>
            <p:nvPr/>
          </p:nvCxnSpPr>
          <p:spPr>
            <a:xfrm>
              <a:off x="9820487" y="5118505"/>
              <a:ext cx="1371600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B8117D1-DE43-0189-ED79-FDB0F1B97D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2584" y="3022863"/>
              <a:ext cx="2113697" cy="15293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69A378F-51D1-D7E7-64DC-047D1912962E}"/>
                </a:ext>
              </a:extLst>
            </p:cNvPr>
            <p:cNvCxnSpPr/>
            <p:nvPr/>
          </p:nvCxnSpPr>
          <p:spPr>
            <a:xfrm>
              <a:off x="7494728" y="2777368"/>
              <a:ext cx="0" cy="217859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B73D74A-CB4B-FE91-9E7F-3292A5B5E5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36230" y="3218162"/>
              <a:ext cx="1175623" cy="7793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05E443C-84CA-3156-388B-7465DF2D17FC}"/>
                </a:ext>
              </a:extLst>
            </p:cNvPr>
            <p:cNvCxnSpPr>
              <a:cxnSpLocks/>
            </p:cNvCxnSpPr>
            <p:nvPr/>
          </p:nvCxnSpPr>
          <p:spPr>
            <a:xfrm>
              <a:off x="4196071" y="2700335"/>
              <a:ext cx="0" cy="510751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D9D912D-F8B8-300D-1D57-326C81C8E911}"/>
                </a:ext>
              </a:extLst>
            </p:cNvPr>
            <p:cNvCxnSpPr>
              <a:cxnSpLocks/>
            </p:cNvCxnSpPr>
            <p:nvPr/>
          </p:nvCxnSpPr>
          <p:spPr>
            <a:xfrm>
              <a:off x="1573006" y="3163146"/>
              <a:ext cx="1242475" cy="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39AC22F-EE72-8396-7FC2-409ECF2F2F85}"/>
                </a:ext>
              </a:extLst>
            </p:cNvPr>
            <p:cNvCxnSpPr>
              <a:cxnSpLocks/>
              <a:stCxn id="59" idx="4"/>
            </p:cNvCxnSpPr>
            <p:nvPr/>
          </p:nvCxnSpPr>
          <p:spPr>
            <a:xfrm flipH="1">
              <a:off x="1907626" y="2753522"/>
              <a:ext cx="11647" cy="404380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FD0F997-FF16-3BEF-70CA-AC24911492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1500" y="2759203"/>
              <a:ext cx="22499" cy="1184652"/>
            </a:xfrm>
            <a:prstGeom prst="line">
              <a:avLst/>
            </a:prstGeom>
            <a:ln w="25400" cap="sq">
              <a:solidFill>
                <a:schemeClr val="accent6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Oval 80">
            <a:extLst>
              <a:ext uri="{FF2B5EF4-FFF2-40B4-BE49-F238E27FC236}">
                <a16:creationId xmlns:a16="http://schemas.microsoft.com/office/drawing/2014/main" id="{28A873C4-5AAE-E6EF-4DBC-1C9CFB1DBB89}"/>
              </a:ext>
            </a:extLst>
          </p:cNvPr>
          <p:cNvSpPr/>
          <p:nvPr/>
        </p:nvSpPr>
        <p:spPr>
          <a:xfrm>
            <a:off x="4043255" y="3684333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9F8FA4CC-6F08-D2E5-0AEB-A4B34C3DC4FE}"/>
              </a:ext>
            </a:extLst>
          </p:cNvPr>
          <p:cNvSpPr/>
          <p:nvPr/>
        </p:nvSpPr>
        <p:spPr>
          <a:xfrm>
            <a:off x="6107140" y="3679323"/>
            <a:ext cx="102870" cy="97606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478D36EA-9D68-E3EA-8C0F-27984D3A0E05}"/>
              </a:ext>
            </a:extLst>
          </p:cNvPr>
          <p:cNvCxnSpPr>
            <a:cxnSpLocks/>
            <a:endCxn id="130" idx="0"/>
          </p:cNvCxnSpPr>
          <p:nvPr/>
        </p:nvCxnSpPr>
        <p:spPr>
          <a:xfrm flipH="1">
            <a:off x="6757306" y="1634220"/>
            <a:ext cx="4550" cy="2048792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A4F799B0-48B2-95AE-57DB-CD8B48B5F028}"/>
              </a:ext>
            </a:extLst>
          </p:cNvPr>
          <p:cNvSpPr txBox="1"/>
          <p:nvPr/>
        </p:nvSpPr>
        <p:spPr>
          <a:xfrm>
            <a:off x="6002183" y="4441858"/>
            <a:ext cx="15879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4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SAE announced six levels of vehicle automation (U.S.)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823ECFD9-DA0C-F1F3-B2AC-B3F2A0745243}"/>
              </a:ext>
            </a:extLst>
          </p:cNvPr>
          <p:cNvCxnSpPr>
            <a:cxnSpLocks/>
          </p:cNvCxnSpPr>
          <p:nvPr/>
        </p:nvCxnSpPr>
        <p:spPr>
          <a:xfrm>
            <a:off x="6274200" y="1638849"/>
            <a:ext cx="2033666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16A15CE9-3DA9-5CE4-2A03-53ADC433F7BA}"/>
              </a:ext>
            </a:extLst>
          </p:cNvPr>
          <p:cNvSpPr/>
          <p:nvPr/>
        </p:nvSpPr>
        <p:spPr>
          <a:xfrm>
            <a:off x="4862678" y="3678849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E96ED68-691C-D721-54A2-35B1429E3643}"/>
              </a:ext>
            </a:extLst>
          </p:cNvPr>
          <p:cNvCxnSpPr>
            <a:cxnSpLocks/>
          </p:cNvCxnSpPr>
          <p:nvPr/>
        </p:nvCxnSpPr>
        <p:spPr>
          <a:xfrm flipH="1">
            <a:off x="4911848" y="2244885"/>
            <a:ext cx="15238" cy="1423029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849CBF7E-EDEE-E89B-D5EE-43A77A7D8C53}"/>
              </a:ext>
            </a:extLst>
          </p:cNvPr>
          <p:cNvCxnSpPr>
            <a:cxnSpLocks/>
          </p:cNvCxnSpPr>
          <p:nvPr/>
        </p:nvCxnSpPr>
        <p:spPr>
          <a:xfrm>
            <a:off x="4762296" y="2223433"/>
            <a:ext cx="1511904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CE8D0704-C66C-87E1-D6C0-C1F1B92B5C0C}"/>
              </a:ext>
            </a:extLst>
          </p:cNvPr>
          <p:cNvSpPr txBox="1"/>
          <p:nvPr/>
        </p:nvSpPr>
        <p:spPr>
          <a:xfrm>
            <a:off x="4472731" y="1752458"/>
            <a:ext cx="203078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1997 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he first major demonstration of automated highway system (U.S.) 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93D7AE91-3603-833B-CDCD-1F767B04B0C7}"/>
              </a:ext>
            </a:extLst>
          </p:cNvPr>
          <p:cNvCxnSpPr>
            <a:cxnSpLocks/>
          </p:cNvCxnSpPr>
          <p:nvPr/>
        </p:nvCxnSpPr>
        <p:spPr>
          <a:xfrm>
            <a:off x="7075128" y="2970791"/>
            <a:ext cx="1155983" cy="5471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5A32C529-9832-D3B6-E7CB-F53FE84A9D44}"/>
              </a:ext>
            </a:extLst>
          </p:cNvPr>
          <p:cNvCxnSpPr>
            <a:cxnSpLocks/>
            <a:endCxn id="147" idx="0"/>
          </p:cNvCxnSpPr>
          <p:nvPr/>
        </p:nvCxnSpPr>
        <p:spPr>
          <a:xfrm flipH="1">
            <a:off x="7227731" y="2991223"/>
            <a:ext cx="740" cy="691093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9AE318FF-AB3F-DE12-11EA-6D42A0AC2A97}"/>
              </a:ext>
            </a:extLst>
          </p:cNvPr>
          <p:cNvSpPr txBox="1"/>
          <p:nvPr/>
        </p:nvSpPr>
        <p:spPr>
          <a:xfrm>
            <a:off x="7009647" y="2463045"/>
            <a:ext cx="13787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8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Waymo launched the first commercial </a:t>
            </a:r>
            <a:r>
              <a:rPr lang="en-US" sz="900" dirty="0" err="1">
                <a:solidFill>
                  <a:srgbClr val="53565A"/>
                </a:solidFill>
                <a:latin typeface="Trebuchet MS"/>
                <a:ea typeface="ＭＳ Ｐゴシック" charset="0"/>
              </a:rPr>
              <a:t>Robotaxi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 in the world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06334C82-5838-619F-B029-8AE304447A74}"/>
              </a:ext>
            </a:extLst>
          </p:cNvPr>
          <p:cNvCxnSpPr>
            <a:cxnSpLocks/>
          </p:cNvCxnSpPr>
          <p:nvPr/>
        </p:nvCxnSpPr>
        <p:spPr>
          <a:xfrm>
            <a:off x="7399542" y="3416318"/>
            <a:ext cx="0" cy="269221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BCD48A0-E2D1-EA73-BB99-70448058E588}"/>
              </a:ext>
            </a:extLst>
          </p:cNvPr>
          <p:cNvCxnSpPr>
            <a:cxnSpLocks/>
          </p:cNvCxnSpPr>
          <p:nvPr/>
        </p:nvCxnSpPr>
        <p:spPr>
          <a:xfrm>
            <a:off x="7283263" y="3407936"/>
            <a:ext cx="1159679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874EB29C-3CD9-0864-2D34-CD0C575A6A79}"/>
              </a:ext>
            </a:extLst>
          </p:cNvPr>
          <p:cNvSpPr txBox="1"/>
          <p:nvPr/>
        </p:nvSpPr>
        <p:spPr>
          <a:xfrm>
            <a:off x="7176296" y="3043375"/>
            <a:ext cx="1378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20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esla launched FSD program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33C1170C-7605-F03A-42AB-A0BD682E98EF}"/>
              </a:ext>
            </a:extLst>
          </p:cNvPr>
          <p:cNvSpPr txBox="1"/>
          <p:nvPr/>
        </p:nvSpPr>
        <p:spPr>
          <a:xfrm>
            <a:off x="7174990" y="5554511"/>
            <a:ext cx="1213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21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Level 3 start commercialization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0AC36FCC-8C10-17C6-706A-CD23E7B7310D}"/>
              </a:ext>
            </a:extLst>
          </p:cNvPr>
          <p:cNvSpPr/>
          <p:nvPr/>
        </p:nvSpPr>
        <p:spPr>
          <a:xfrm>
            <a:off x="2997607" y="3673487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1A643DC0-8EF5-ECB3-BD25-284B81A1F7EB}"/>
              </a:ext>
            </a:extLst>
          </p:cNvPr>
          <p:cNvSpPr/>
          <p:nvPr/>
        </p:nvSpPr>
        <p:spPr>
          <a:xfrm>
            <a:off x="3886942" y="3681248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BDB4538C-3B6A-E320-38C9-418343A323BB}"/>
              </a:ext>
            </a:extLst>
          </p:cNvPr>
          <p:cNvSpPr/>
          <p:nvPr/>
        </p:nvSpPr>
        <p:spPr>
          <a:xfrm>
            <a:off x="7176296" y="3682316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169ECF87-B6D3-E3BA-0371-DC40813185D6}"/>
              </a:ext>
            </a:extLst>
          </p:cNvPr>
          <p:cNvSpPr/>
          <p:nvPr/>
        </p:nvSpPr>
        <p:spPr>
          <a:xfrm>
            <a:off x="7348107" y="3686347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5F644368-CF03-B766-06FC-D4C1C4EBA204}"/>
              </a:ext>
            </a:extLst>
          </p:cNvPr>
          <p:cNvCxnSpPr>
            <a:cxnSpLocks/>
          </p:cNvCxnSpPr>
          <p:nvPr/>
        </p:nvCxnSpPr>
        <p:spPr>
          <a:xfrm>
            <a:off x="6158575" y="3430876"/>
            <a:ext cx="0" cy="237038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439A518A-54CE-9D4D-D108-86984EC966CE}"/>
              </a:ext>
            </a:extLst>
          </p:cNvPr>
          <p:cNvCxnSpPr>
            <a:cxnSpLocks/>
          </p:cNvCxnSpPr>
          <p:nvPr/>
        </p:nvCxnSpPr>
        <p:spPr>
          <a:xfrm flipV="1">
            <a:off x="5964831" y="3407936"/>
            <a:ext cx="751679" cy="8382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F4D5996C-7A7F-31D8-A0CA-F1004E3E9BDB}"/>
              </a:ext>
            </a:extLst>
          </p:cNvPr>
          <p:cNvSpPr txBox="1"/>
          <p:nvPr/>
        </p:nvSpPr>
        <p:spPr>
          <a:xfrm>
            <a:off x="5881649" y="2906377"/>
            <a:ext cx="937378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11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First AV law in the world (U.S.)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EBCF7ED9-A4F8-5179-DB95-F614BA86A12F}"/>
              </a:ext>
            </a:extLst>
          </p:cNvPr>
          <p:cNvSpPr txBox="1"/>
          <p:nvPr/>
        </p:nvSpPr>
        <p:spPr>
          <a:xfrm>
            <a:off x="6251484" y="1125985"/>
            <a:ext cx="2193246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By mid of 2010s</a:t>
            </a:r>
            <a:r>
              <a:rPr lang="en-US" sz="900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dirty="0">
                <a:solidFill>
                  <a:srgbClr val="53565A"/>
                </a:solidFill>
                <a:latin typeface="Trebuchet MS"/>
                <a:ea typeface="ＭＳ Ｐゴシック" charset="0"/>
              </a:rPr>
              <a:t>Toyota, Audi, Benz, Ford, BMW, Uber, Tesla started AV commercialization program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5501D7A9-D3C5-3076-5E9E-4DBD9FF80766}"/>
              </a:ext>
            </a:extLst>
          </p:cNvPr>
          <p:cNvSpPr/>
          <p:nvPr/>
        </p:nvSpPr>
        <p:spPr>
          <a:xfrm>
            <a:off x="6705871" y="3683012"/>
            <a:ext cx="102870" cy="97606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C20F9736-AD0B-9227-31D5-9D1EC06966FA}"/>
              </a:ext>
            </a:extLst>
          </p:cNvPr>
          <p:cNvSpPr txBox="1"/>
          <p:nvPr/>
        </p:nvSpPr>
        <p:spPr>
          <a:xfrm>
            <a:off x="479297" y="922352"/>
            <a:ext cx="3345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CMU: Carnegie Mellon Univers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DARPA: Defense Advanced Research Projects Ag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SAE: Society of Automotive Engine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2"/>
                </a:solidFill>
              </a:rPr>
              <a:t>FSD: Fully Self-Driving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21D35BB3-0420-63F2-B804-9787D4B35165}"/>
              </a:ext>
            </a:extLst>
          </p:cNvPr>
          <p:cNvCxnSpPr>
            <a:cxnSpLocks/>
          </p:cNvCxnSpPr>
          <p:nvPr/>
        </p:nvCxnSpPr>
        <p:spPr>
          <a:xfrm flipH="1">
            <a:off x="3252461" y="3126678"/>
            <a:ext cx="14445" cy="930468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F8D2701F-75FB-4A06-F154-9A0E7FA29B04}"/>
              </a:ext>
            </a:extLst>
          </p:cNvPr>
          <p:cNvCxnSpPr>
            <a:cxnSpLocks/>
          </p:cNvCxnSpPr>
          <p:nvPr/>
        </p:nvCxnSpPr>
        <p:spPr>
          <a:xfrm>
            <a:off x="3266906" y="4044117"/>
            <a:ext cx="302915" cy="0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32CB6FFD-6989-E511-13DD-BA67874A3B46}"/>
              </a:ext>
            </a:extLst>
          </p:cNvPr>
          <p:cNvCxnSpPr>
            <a:cxnSpLocks/>
          </p:cNvCxnSpPr>
          <p:nvPr/>
        </p:nvCxnSpPr>
        <p:spPr>
          <a:xfrm flipH="1">
            <a:off x="3488064" y="4052248"/>
            <a:ext cx="55860" cy="1979842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66A30F68-DF66-1544-FE81-E22A170BA325}"/>
              </a:ext>
            </a:extLst>
          </p:cNvPr>
          <p:cNvCxnSpPr>
            <a:cxnSpLocks/>
          </p:cNvCxnSpPr>
          <p:nvPr/>
        </p:nvCxnSpPr>
        <p:spPr>
          <a:xfrm>
            <a:off x="2736692" y="3126678"/>
            <a:ext cx="530214" cy="0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BA828CE-BAE9-F66C-5799-F3179EA81DE7}"/>
              </a:ext>
            </a:extLst>
          </p:cNvPr>
          <p:cNvCxnSpPr>
            <a:cxnSpLocks/>
          </p:cNvCxnSpPr>
          <p:nvPr/>
        </p:nvCxnSpPr>
        <p:spPr>
          <a:xfrm flipH="1">
            <a:off x="2747912" y="1794405"/>
            <a:ext cx="44522" cy="1336056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52D6945-49C9-06F0-34D5-1010D79AE16C}"/>
              </a:ext>
            </a:extLst>
          </p:cNvPr>
          <p:cNvCxnSpPr>
            <a:cxnSpLocks/>
          </p:cNvCxnSpPr>
          <p:nvPr/>
        </p:nvCxnSpPr>
        <p:spPr>
          <a:xfrm flipH="1">
            <a:off x="5663433" y="2841941"/>
            <a:ext cx="7705" cy="1088483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C5F2F56C-BD7F-7BEA-CA4E-1F1E61ABED71}"/>
              </a:ext>
            </a:extLst>
          </p:cNvPr>
          <p:cNvCxnSpPr>
            <a:cxnSpLocks/>
          </p:cNvCxnSpPr>
          <p:nvPr/>
        </p:nvCxnSpPr>
        <p:spPr>
          <a:xfrm flipV="1">
            <a:off x="5640907" y="3912020"/>
            <a:ext cx="927097" cy="7188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EF7D0718-3F42-17B4-BD41-D0190233240C}"/>
              </a:ext>
            </a:extLst>
          </p:cNvPr>
          <p:cNvCxnSpPr>
            <a:cxnSpLocks/>
          </p:cNvCxnSpPr>
          <p:nvPr/>
        </p:nvCxnSpPr>
        <p:spPr>
          <a:xfrm>
            <a:off x="6578857" y="3903322"/>
            <a:ext cx="0" cy="505079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35B6F8E0-67C9-4B78-1C94-140D5D13466C}"/>
              </a:ext>
            </a:extLst>
          </p:cNvPr>
          <p:cNvCxnSpPr>
            <a:cxnSpLocks/>
          </p:cNvCxnSpPr>
          <p:nvPr/>
        </p:nvCxnSpPr>
        <p:spPr>
          <a:xfrm flipV="1">
            <a:off x="5724463" y="4408401"/>
            <a:ext cx="854394" cy="22789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40E4D4F-C916-0AB7-5D9A-8F1502254A46}"/>
              </a:ext>
            </a:extLst>
          </p:cNvPr>
          <p:cNvCxnSpPr>
            <a:cxnSpLocks/>
          </p:cNvCxnSpPr>
          <p:nvPr/>
        </p:nvCxnSpPr>
        <p:spPr>
          <a:xfrm flipH="1">
            <a:off x="5706613" y="4441858"/>
            <a:ext cx="39578" cy="1590232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B27AF22B-4D87-414B-AF71-C863F0F8278E}"/>
              </a:ext>
            </a:extLst>
          </p:cNvPr>
          <p:cNvSpPr txBox="1"/>
          <p:nvPr/>
        </p:nvSpPr>
        <p:spPr>
          <a:xfrm>
            <a:off x="3488065" y="5375116"/>
            <a:ext cx="1320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7030A0"/>
                </a:solidFill>
              </a:rPr>
              <a:t>Foundational Research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98F9D7C4-A83A-5C8A-E471-7508E78A4E05}"/>
              </a:ext>
            </a:extLst>
          </p:cNvPr>
          <p:cNvSpPr txBox="1"/>
          <p:nvPr/>
        </p:nvSpPr>
        <p:spPr>
          <a:xfrm>
            <a:off x="5861960" y="5359525"/>
            <a:ext cx="1320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7030A0"/>
                </a:solidFill>
              </a:rPr>
              <a:t>Commercial Development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3B02C46-E7A4-F587-14D6-52E41215E871}"/>
              </a:ext>
            </a:extLst>
          </p:cNvPr>
          <p:cNvSpPr txBox="1"/>
          <p:nvPr/>
        </p:nvSpPr>
        <p:spPr>
          <a:xfrm>
            <a:off x="1194020" y="5367647"/>
            <a:ext cx="1320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7030A0"/>
                </a:solidFill>
              </a:rPr>
              <a:t>Conception </a:t>
            </a:r>
          </a:p>
        </p:txBody>
      </p: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FEC79897-4FBC-4F5E-3EBA-FE19DDAACAF2}"/>
              </a:ext>
            </a:extLst>
          </p:cNvPr>
          <p:cNvCxnSpPr>
            <a:cxnSpLocks/>
          </p:cNvCxnSpPr>
          <p:nvPr/>
        </p:nvCxnSpPr>
        <p:spPr>
          <a:xfrm>
            <a:off x="5057669" y="2845915"/>
            <a:ext cx="609616" cy="0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9E370D11-BDE4-E7CE-0878-FC37F030AE6A}"/>
              </a:ext>
            </a:extLst>
          </p:cNvPr>
          <p:cNvCxnSpPr>
            <a:cxnSpLocks/>
          </p:cNvCxnSpPr>
          <p:nvPr/>
        </p:nvCxnSpPr>
        <p:spPr>
          <a:xfrm flipH="1">
            <a:off x="5074706" y="2337083"/>
            <a:ext cx="15649" cy="500480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0CD5DB81-715F-72F6-8F5A-EBED31929806}"/>
              </a:ext>
            </a:extLst>
          </p:cNvPr>
          <p:cNvCxnSpPr>
            <a:cxnSpLocks/>
          </p:cNvCxnSpPr>
          <p:nvPr/>
        </p:nvCxnSpPr>
        <p:spPr>
          <a:xfrm>
            <a:off x="5076150" y="2345654"/>
            <a:ext cx="1481497" cy="1326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99EF1873-2E9E-D397-E37D-CA2FE7A5C124}"/>
              </a:ext>
            </a:extLst>
          </p:cNvPr>
          <p:cNvCxnSpPr>
            <a:cxnSpLocks/>
          </p:cNvCxnSpPr>
          <p:nvPr/>
        </p:nvCxnSpPr>
        <p:spPr>
          <a:xfrm>
            <a:off x="6568004" y="1672307"/>
            <a:ext cx="1464" cy="662428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E0054EB1-C5A6-D640-E074-92C6257D0560}"/>
              </a:ext>
            </a:extLst>
          </p:cNvPr>
          <p:cNvCxnSpPr>
            <a:cxnSpLocks/>
          </p:cNvCxnSpPr>
          <p:nvPr/>
        </p:nvCxnSpPr>
        <p:spPr>
          <a:xfrm flipV="1">
            <a:off x="5787263" y="1678442"/>
            <a:ext cx="782439" cy="1186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24F88CEA-3F59-5920-266E-25F98CF3B8A9}"/>
              </a:ext>
            </a:extLst>
          </p:cNvPr>
          <p:cNvCxnSpPr>
            <a:cxnSpLocks/>
          </p:cNvCxnSpPr>
          <p:nvPr/>
        </p:nvCxnSpPr>
        <p:spPr>
          <a:xfrm flipH="1">
            <a:off x="5802120" y="878283"/>
            <a:ext cx="14778" cy="795110"/>
          </a:xfrm>
          <a:prstGeom prst="line">
            <a:avLst/>
          </a:prstGeom>
          <a:ln w="2540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8334CF84-6FDF-7DB6-DCFF-6D22356C6445}"/>
              </a:ext>
            </a:extLst>
          </p:cNvPr>
          <p:cNvSpPr/>
          <p:nvPr/>
        </p:nvSpPr>
        <p:spPr>
          <a:xfrm>
            <a:off x="7684157" y="3678446"/>
            <a:ext cx="102870" cy="102870"/>
          </a:xfrm>
          <a:prstGeom prst="ellipse">
            <a:avLst/>
          </a:prstGeom>
          <a:solidFill>
            <a:schemeClr val="tx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prstClr val="white"/>
              </a:solidFill>
              <a:latin typeface="Trebuchet M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1C49F7-2B14-82BB-9DBD-7F0FC5F5CBC0}"/>
              </a:ext>
            </a:extLst>
          </p:cNvPr>
          <p:cNvCxnSpPr>
            <a:cxnSpLocks/>
          </p:cNvCxnSpPr>
          <p:nvPr/>
        </p:nvCxnSpPr>
        <p:spPr>
          <a:xfrm>
            <a:off x="7738388" y="3790858"/>
            <a:ext cx="0" cy="77412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1F2681-EBCE-D7CD-B303-A96F41766696}"/>
              </a:ext>
            </a:extLst>
          </p:cNvPr>
          <p:cNvCxnSpPr>
            <a:cxnSpLocks/>
          </p:cNvCxnSpPr>
          <p:nvPr/>
        </p:nvCxnSpPr>
        <p:spPr>
          <a:xfrm>
            <a:off x="7661509" y="4564978"/>
            <a:ext cx="1354154" cy="0"/>
          </a:xfrm>
          <a:prstGeom prst="line">
            <a:avLst/>
          </a:prstGeom>
          <a:ln w="25400" cap="sq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5015A83-A287-178C-550D-E5620EEC73B6}"/>
              </a:ext>
            </a:extLst>
          </p:cNvPr>
          <p:cNvSpPr txBox="1"/>
          <p:nvPr/>
        </p:nvSpPr>
        <p:spPr>
          <a:xfrm>
            <a:off x="7575365" y="4551328"/>
            <a:ext cx="15053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843D"/>
                </a:solidFill>
                <a:latin typeface="Arial" charset="0"/>
                <a:ea typeface="ＭＳ Ｐゴシック" charset="0"/>
              </a:rPr>
              <a:t>2023</a:t>
            </a:r>
            <a:r>
              <a:rPr lang="en-US" sz="900" b="1" dirty="0">
                <a:solidFill>
                  <a:srgbClr val="00843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|</a:t>
            </a:r>
            <a:r>
              <a:rPr lang="en-US" sz="9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First National AV commercial operation regulation (China)</a:t>
            </a:r>
            <a:endParaRPr lang="en-US" sz="900" dirty="0">
              <a:latin typeface="Trebuchet MS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124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amco">
  <a:themeElements>
    <a:clrScheme name="Saudi Aramco">
      <a:dk1>
        <a:srgbClr val="53565A"/>
      </a:dk1>
      <a:lt1>
        <a:sysClr val="window" lastClr="FFFFFF"/>
      </a:lt1>
      <a:dk2>
        <a:srgbClr val="00A3E0"/>
      </a:dk2>
      <a:lt2>
        <a:srgbClr val="84BD00"/>
      </a:lt2>
      <a:accent1>
        <a:srgbClr val="84BD00"/>
      </a:accent1>
      <a:accent2>
        <a:srgbClr val="00843D"/>
      </a:accent2>
      <a:accent3>
        <a:srgbClr val="0033A0"/>
      </a:accent3>
      <a:accent4>
        <a:srgbClr val="00A3E0"/>
      </a:accent4>
      <a:accent5>
        <a:srgbClr val="53565A"/>
      </a:accent5>
      <a:accent6>
        <a:srgbClr val="8F9194"/>
      </a:accent6>
      <a:hlink>
        <a:srgbClr val="00A3E0"/>
      </a:hlink>
      <a:folHlink>
        <a:srgbClr val="0033A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ramco" id="{CBB40F28-17D9-4EC4-BAFC-3D5A77803B32}" vid="{BE89CDFE-83C2-45BA-A902-99FEE7BEDF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f471b27-fd13-4860-adb0-43c3ee92bef9" xsi:nil="true"/>
    <TaxKeywordTaxHTField xmlns="cf471b27-fd13-4860-adb0-43c3ee92bef9">
      <Terms xmlns="http://schemas.microsoft.com/office/infopath/2007/PartnerControls"/>
    </TaxKeywordTaxHTField>
    <Notes xmlns="5ed50842-579e-465e-b5c8-9b3bf3aad5b0" xsi:nil="true"/>
    <Location xmlns="http://schemas.microsoft.com/sharepoint/v3/fields" xsi:nil="true"/>
    <Date_x0020_of_x0020_Event xmlns="5ed50842-579e-465e-b5c8-9b3bf3aad5b0" xsi:nil="true"/>
    <SharedWithUsers xmlns="cf471b27-fd13-4860-adb0-43c3ee92bef9">
      <UserInfo>
        <DisplayName>Wang, Jinghui</DisplayName>
        <AccountId>10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87521170E2304C9F5335BC2BD77A92" ma:contentTypeVersion="23" ma:contentTypeDescription="Create a new document." ma:contentTypeScope="" ma:versionID="b2999b7b4afe447e48c46eb60db14b4d">
  <xsd:schema xmlns:xsd="http://www.w3.org/2001/XMLSchema" xmlns:xs="http://www.w3.org/2001/XMLSchema" xmlns:p="http://schemas.microsoft.com/office/2006/metadata/properties" xmlns:ns2="cf471b27-fd13-4860-adb0-43c3ee92bef9" xmlns:ns3="5ed50842-579e-465e-b5c8-9b3bf3aad5b0" xmlns:ns4="http://schemas.microsoft.com/sharepoint/v3/fields" targetNamespace="http://schemas.microsoft.com/office/2006/metadata/properties" ma:root="true" ma:fieldsID="36a677be4c5dea0068e24df2d521f61b" ns2:_="" ns3:_="" ns4:_="">
    <xsd:import namespace="cf471b27-fd13-4860-adb0-43c3ee92bef9"/>
    <xsd:import namespace="5ed50842-579e-465e-b5c8-9b3bf3aad5b0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3:Date_x0020_of_x0020_Event" minOccurs="0"/>
                <xsd:element ref="ns4:Locat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2:SharedWithUsers" minOccurs="0"/>
                <xsd:element ref="ns2:SharedWithDetails" minOccurs="0"/>
                <xsd:element ref="ns3:Notes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71b27-fd13-4860-adb0-43c3ee92bef9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5" nillable="true" ma:taxonomy="true" ma:internalName="TaxKeywordTaxHTField" ma:taxonomyFieldName="TaxKeyword" ma:displayName="Enterprise Keywords" ma:fieldId="{23f27201-bee3-471e-b2e7-b64fd8b7ca38}" ma:taxonomyMulti="true" ma:sspId="acd415a0-c3cc-462f-a356-43074d3c24e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6" nillable="true" ma:displayName="Taxonomy Catch All Column" ma:hidden="true" ma:list="{12b34ae8-a42d-4c2e-8e67-ca4316867c8f}" ma:internalName="TaxCatchAll" ma:showField="CatchAllData" ma:web="cf471b27-fd13-4860-adb0-43c3ee92be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d50842-579e-465e-b5c8-9b3bf3aad5b0" elementFormDefault="qualified">
    <xsd:import namespace="http://schemas.microsoft.com/office/2006/documentManagement/types"/>
    <xsd:import namespace="http://schemas.microsoft.com/office/infopath/2007/PartnerControls"/>
    <xsd:element name="Date_x0020_of_x0020_Event" ma:index="7" nillable="true" ma:displayName="Date of Event" ma:format="DateOnly" ma:internalName="Date_x0020_of_x0020_Event" ma:readOnly="false">
      <xsd:simpleType>
        <xsd:restriction base="dms:DateTime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Notes" ma:index="21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Location" ma:index="8" nillable="true" ma:displayName="Location" ma:description="" ma:internalName="Locat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46C240-89A1-414F-B863-62D29D230442}">
  <ds:schemaRefs>
    <ds:schemaRef ds:uri="5ed50842-579e-465e-b5c8-9b3bf3aad5b0"/>
    <ds:schemaRef ds:uri="cf471b27-fd13-4860-adb0-43c3ee92bef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F4D77BE-41C7-461B-9C1D-C9876A0FD76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2D6F897-227E-4740-BBFC-AB655324C9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f471b27-fd13-4860-adb0-43c3ee92bef9"/>
    <ds:schemaRef ds:uri="5ed50842-579e-465e-b5c8-9b3bf3aad5b0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ramco</Template>
  <TotalTime>5051</TotalTime>
  <Words>505</Words>
  <Application>Microsoft Macintosh PowerPoint</Application>
  <PresentationFormat>On-screen Show (4:3)</PresentationFormat>
  <Paragraphs>6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S PGothic</vt:lpstr>
      <vt:lpstr>Arial</vt:lpstr>
      <vt:lpstr>Calibri</vt:lpstr>
      <vt:lpstr>Cambria Math</vt:lpstr>
      <vt:lpstr>Lucida Grande</vt:lpstr>
      <vt:lpstr>Trebuchet MS</vt:lpstr>
      <vt:lpstr>Aramco</vt:lpstr>
      <vt:lpstr>think-cell Slide</vt:lpstr>
      <vt:lpstr>History of Automated Vehicles</vt:lpstr>
      <vt:lpstr>History of Automated Vehic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 Planning</dc:title>
  <dc:creator>He, Xin</dc:creator>
  <cp:lastModifiedBy>Jinghui Wang</cp:lastModifiedBy>
  <cp:revision>545</cp:revision>
  <cp:lastPrinted>2023-03-06T15:06:40Z</cp:lastPrinted>
  <dcterms:created xsi:type="dcterms:W3CDTF">2020-11-24T02:12:36Z</dcterms:created>
  <dcterms:modified xsi:type="dcterms:W3CDTF">2024-04-29T19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0959062-7b44-4d77-8d0f-cf572960120c_Enabled">
    <vt:lpwstr>true</vt:lpwstr>
  </property>
  <property fmtid="{D5CDD505-2E9C-101B-9397-08002B2CF9AE}" pid="3" name="MSIP_Label_10959062-7b44-4d77-8d0f-cf572960120c_SetDate">
    <vt:lpwstr>2020-11-24T02:59:16Z</vt:lpwstr>
  </property>
  <property fmtid="{D5CDD505-2E9C-101B-9397-08002B2CF9AE}" pid="4" name="MSIP_Label_10959062-7b44-4d77-8d0f-cf572960120c_Method">
    <vt:lpwstr>Privileged</vt:lpwstr>
  </property>
  <property fmtid="{D5CDD505-2E9C-101B-9397-08002B2CF9AE}" pid="5" name="MSIP_Label_10959062-7b44-4d77-8d0f-cf572960120c_Name">
    <vt:lpwstr>ASC-General-Use</vt:lpwstr>
  </property>
  <property fmtid="{D5CDD505-2E9C-101B-9397-08002B2CF9AE}" pid="6" name="MSIP_Label_10959062-7b44-4d77-8d0f-cf572960120c_SiteId">
    <vt:lpwstr>3793a1e6-1687-4a33-a150-6d1a5640ff06</vt:lpwstr>
  </property>
  <property fmtid="{D5CDD505-2E9C-101B-9397-08002B2CF9AE}" pid="7" name="MSIP_Label_10959062-7b44-4d77-8d0f-cf572960120c_ActionId">
    <vt:lpwstr>ce494bb0-4732-4aee-8530-000013d57609</vt:lpwstr>
  </property>
  <property fmtid="{D5CDD505-2E9C-101B-9397-08002B2CF9AE}" pid="8" name="MSIP_Label_10959062-7b44-4d77-8d0f-cf572960120c_ContentBits">
    <vt:lpwstr>2</vt:lpwstr>
  </property>
  <property fmtid="{D5CDD505-2E9C-101B-9397-08002B2CF9AE}" pid="9" name="ContentTypeId">
    <vt:lpwstr>0x010100C087521170E2304C9F5335BC2BD77A92</vt:lpwstr>
  </property>
  <property fmtid="{D5CDD505-2E9C-101B-9397-08002B2CF9AE}" pid="10" name="TaxKeyword">
    <vt:lpwstr/>
  </property>
</Properties>
</file>